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jpeg" ContentType="image/jpeg"/>
  <Default Extension="JPG" ContentType="image/.jpg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ppt/theme/theme16.xml" ContentType="application/vnd.openxmlformats-officedocument.theme+xml"/>
  <Override PartName="/ppt/theme/theme17.xml" ContentType="application/vnd.openxmlformats-officedocument.theme+xml"/>
  <Override PartName="/ppt/theme/theme18.xml" ContentType="application/vnd.openxmlformats-officedocument.theme+xml"/>
  <Override PartName="/ppt/theme/theme19.xml" ContentType="application/vnd.openxmlformats-officedocument.theme+xml"/>
  <Override PartName="/ppt/theme/theme2.xml" ContentType="application/vnd.openxmlformats-officedocument.theme+xml"/>
  <Override PartName="/ppt/theme/theme20.xml" ContentType="application/vnd.openxmlformats-officedocument.theme+xml"/>
  <Override PartName="/ppt/theme/theme21.xml" ContentType="application/vnd.openxmlformats-officedocument.theme+xml"/>
  <Override PartName="/ppt/theme/theme2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660" r:id="rId3"/>
    <p:sldMasterId id="2147483672" r:id="rId4"/>
    <p:sldMasterId id="2147483684" r:id="rId5"/>
    <p:sldMasterId id="2147483696" r:id="rId6"/>
    <p:sldMasterId id="2147483709" r:id="rId7"/>
    <p:sldMasterId id="2147483721" r:id="rId8"/>
    <p:sldMasterId id="2147483733" r:id="rId9"/>
    <p:sldMasterId id="2147483745" r:id="rId10"/>
    <p:sldMasterId id="2147483757" r:id="rId11"/>
    <p:sldMasterId id="2147483770" r:id="rId12"/>
    <p:sldMasterId id="2147483782" r:id="rId13"/>
    <p:sldMasterId id="2147483796" r:id="rId14"/>
    <p:sldMasterId id="2147483810" r:id="rId15"/>
    <p:sldMasterId id="2147483822" r:id="rId16"/>
    <p:sldMasterId id="2147483835" r:id="rId17"/>
    <p:sldMasterId id="2147483847" r:id="rId18"/>
    <p:sldMasterId id="2147483859" r:id="rId19"/>
    <p:sldMasterId id="2147483862" r:id="rId20"/>
    <p:sldMasterId id="2147483875" r:id="rId21"/>
  </p:sldMasterIdLst>
  <p:notesMasterIdLst>
    <p:notesMasterId r:id="rId23"/>
  </p:notesMasterIdLst>
  <p:handoutMasterIdLst>
    <p:handoutMasterId r:id="rId32"/>
  </p:handoutMasterIdLst>
  <p:sldIdLst>
    <p:sldId id="1762" r:id="rId22"/>
    <p:sldId id="1795" r:id="rId24"/>
    <p:sldId id="1796" r:id="rId25"/>
    <p:sldId id="1797" r:id="rId26"/>
    <p:sldId id="1806" r:id="rId27"/>
    <p:sldId id="1807" r:id="rId28"/>
    <p:sldId id="1808" r:id="rId29"/>
    <p:sldId id="1800" r:id="rId30"/>
    <p:sldId id="1809" r:id="rId31"/>
  </p:sldIdLst>
  <p:sldSz cx="9144000" cy="6858000" type="screen4x3"/>
  <p:notesSz cx="6858000" cy="9947275"/>
  <p:custDataLst>
    <p:tags r:id="rId37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C5961FFB-52ED-452A-8189-CD3EE54FDD52}">
          <p14:sldIdLst>
            <p14:sldId id="1762"/>
            <p14:sldId id="1796"/>
            <p14:sldId id="1797"/>
            <p14:sldId id="1806"/>
            <p14:sldId id="1807"/>
            <p14:sldId id="1808"/>
            <p14:sldId id="1800"/>
            <p14:sldId id="1809"/>
            <p14:sldId id="1795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s" initials="s" lastIdx="7" clrIdx="0"/>
  <p:cmAuthor id="1" name="Admin" initials="A" lastIdx="0" clrIdx="1"/>
  <p:cmAuthor id="2" name="Помилуйко Ирина Сергеевна" initials="ПИС" lastIdx="1" clrIdx="2"/>
  <p:cmAuthor id="3" name="Rosatom" initials="R" lastIdx="1" clrIdx="3"/>
  <p:cmAuthor id="4" name="Титова Елена Сергеевна" initials="ТЕС" lastIdx="1" clrIdx="4"/>
  <p:cmAuthor id="5" name="nata_pravda@outlook.com" initials="n" lastIdx="22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658E"/>
    <a:srgbClr val="008E40"/>
    <a:srgbClr val="ECF4FA"/>
    <a:srgbClr val="C9EEFF"/>
    <a:srgbClr val="C9E0FF"/>
    <a:srgbClr val="F0E770"/>
    <a:srgbClr val="A6D86E"/>
    <a:srgbClr val="B9C6FD"/>
    <a:srgbClr val="D7EA76"/>
    <a:srgbClr val="3F4E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550" autoAdjust="0"/>
    <p:restoredTop sz="96244" autoAdjust="0"/>
  </p:normalViewPr>
  <p:slideViewPr>
    <p:cSldViewPr>
      <p:cViewPr>
        <p:scale>
          <a:sx n="100" d="100"/>
          <a:sy n="100" d="100"/>
        </p:scale>
        <p:origin x="-72" y="-426"/>
      </p:cViewPr>
      <p:guideLst>
        <p:guide orient="horz" pos="2742"/>
        <p:guide pos="3107"/>
        <p:guide pos="17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8928"/>
    </p:cViewPr>
  </p:sorterViewPr>
  <p:notesViewPr>
    <p:cSldViewPr>
      <p:cViewPr>
        <p:scale>
          <a:sx n="150" d="100"/>
          <a:sy n="150" d="100"/>
        </p:scale>
        <p:origin x="-978" y="3666"/>
      </p:cViewPr>
      <p:guideLst>
        <p:guide orient="horz" pos="3112"/>
        <p:guide orient="horz" pos="3136"/>
        <p:guide pos="2193"/>
        <p:guide pos="219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Master" Target="slideMasters/slideMaster8.xml"/><Relationship Id="rId8" Type="http://schemas.openxmlformats.org/officeDocument/2006/relationships/slideMaster" Target="slideMasters/slideMaster7.xml"/><Relationship Id="rId7" Type="http://schemas.openxmlformats.org/officeDocument/2006/relationships/slideMaster" Target="slideMasters/slideMaster6.xml"/><Relationship Id="rId6" Type="http://schemas.openxmlformats.org/officeDocument/2006/relationships/slideMaster" Target="slideMasters/slideMaster5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7" Type="http://schemas.openxmlformats.org/officeDocument/2006/relationships/tags" Target="tags/tag4.xml"/><Relationship Id="rId36" Type="http://schemas.openxmlformats.org/officeDocument/2006/relationships/commentAuthors" Target="commentAuthors.xml"/><Relationship Id="rId35" Type="http://schemas.openxmlformats.org/officeDocument/2006/relationships/tableStyles" Target="tableStyles.xml"/><Relationship Id="rId34" Type="http://schemas.openxmlformats.org/officeDocument/2006/relationships/viewProps" Target="viewProps.xml"/><Relationship Id="rId33" Type="http://schemas.openxmlformats.org/officeDocument/2006/relationships/presProps" Target="presProps.xml"/><Relationship Id="rId32" Type="http://schemas.openxmlformats.org/officeDocument/2006/relationships/handoutMaster" Target="handoutMasters/handoutMaster1.xml"/><Relationship Id="rId31" Type="http://schemas.openxmlformats.org/officeDocument/2006/relationships/slide" Target="slides/slide9.xml"/><Relationship Id="rId30" Type="http://schemas.openxmlformats.org/officeDocument/2006/relationships/slide" Target="slides/slide8.xml"/><Relationship Id="rId3" Type="http://schemas.openxmlformats.org/officeDocument/2006/relationships/slideMaster" Target="slideMasters/slideMaster2.xml"/><Relationship Id="rId29" Type="http://schemas.openxmlformats.org/officeDocument/2006/relationships/slide" Target="slides/slide7.xml"/><Relationship Id="rId28" Type="http://schemas.openxmlformats.org/officeDocument/2006/relationships/slide" Target="slides/slide6.xml"/><Relationship Id="rId27" Type="http://schemas.openxmlformats.org/officeDocument/2006/relationships/slide" Target="slides/slide5.xml"/><Relationship Id="rId26" Type="http://schemas.openxmlformats.org/officeDocument/2006/relationships/slide" Target="slides/slide4.xml"/><Relationship Id="rId25" Type="http://schemas.openxmlformats.org/officeDocument/2006/relationships/slide" Target="slides/slide3.xml"/><Relationship Id="rId24" Type="http://schemas.openxmlformats.org/officeDocument/2006/relationships/slide" Target="slides/slide2.xml"/><Relationship Id="rId23" Type="http://schemas.openxmlformats.org/officeDocument/2006/relationships/notesMaster" Target="notesMasters/notesMaster1.xml"/><Relationship Id="rId22" Type="http://schemas.openxmlformats.org/officeDocument/2006/relationships/slide" Target="slides/slide1.xml"/><Relationship Id="rId21" Type="http://schemas.openxmlformats.org/officeDocument/2006/relationships/slideMaster" Target="slideMasters/slideMaster20.xml"/><Relationship Id="rId20" Type="http://schemas.openxmlformats.org/officeDocument/2006/relationships/slideMaster" Target="slideMasters/slideMaster19.xml"/><Relationship Id="rId2" Type="http://schemas.openxmlformats.org/officeDocument/2006/relationships/theme" Target="theme/theme1.xml"/><Relationship Id="rId19" Type="http://schemas.openxmlformats.org/officeDocument/2006/relationships/slideMaster" Target="slideMasters/slideMaster18.xml"/><Relationship Id="rId18" Type="http://schemas.openxmlformats.org/officeDocument/2006/relationships/slideMaster" Target="slideMasters/slideMaster17.xml"/><Relationship Id="rId17" Type="http://schemas.openxmlformats.org/officeDocument/2006/relationships/slideMaster" Target="slideMasters/slideMaster16.xml"/><Relationship Id="rId16" Type="http://schemas.openxmlformats.org/officeDocument/2006/relationships/slideMaster" Target="slideMasters/slideMaster15.xml"/><Relationship Id="rId15" Type="http://schemas.openxmlformats.org/officeDocument/2006/relationships/slideMaster" Target="slideMasters/slideMaster14.xml"/><Relationship Id="rId14" Type="http://schemas.openxmlformats.org/officeDocument/2006/relationships/slideMaster" Target="slideMasters/slideMaster13.xml"/><Relationship Id="rId13" Type="http://schemas.openxmlformats.org/officeDocument/2006/relationships/slideMaster" Target="slideMasters/slideMaster12.xml"/><Relationship Id="rId12" Type="http://schemas.openxmlformats.org/officeDocument/2006/relationships/slideMaster" Target="slideMasters/slideMaster11.xml"/><Relationship Id="rId11" Type="http://schemas.openxmlformats.org/officeDocument/2006/relationships/slideMaster" Target="slideMasters/slideMaster10.xml"/><Relationship Id="rId10" Type="http://schemas.openxmlformats.org/officeDocument/2006/relationships/slideMaster" Target="slideMasters/slideMaster9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2547" cy="497921"/>
          </a:xfrm>
          <a:prstGeom prst="rect">
            <a:avLst/>
          </a:prstGeom>
        </p:spPr>
        <p:txBody>
          <a:bodyPr vert="horz" lIns="91879" tIns="45939" rIns="91879" bIns="4593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3852" y="0"/>
            <a:ext cx="2972547" cy="497921"/>
          </a:xfrm>
          <a:prstGeom prst="rect">
            <a:avLst/>
          </a:prstGeom>
        </p:spPr>
        <p:txBody>
          <a:bodyPr vert="horz" lIns="91879" tIns="45939" rIns="91879" bIns="45939" rtlCol="0"/>
          <a:lstStyle>
            <a:lvl1pPr algn="r">
              <a:defRPr sz="1200"/>
            </a:lvl1pPr>
          </a:lstStyle>
          <a:p>
            <a:fld id="{FC09EDCF-316C-4A2E-809B-2AE77C2674FE}" type="datetimeFigureOut">
              <a:rPr lang="ru-RU" smtClean="0"/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9354"/>
            <a:ext cx="2972547" cy="497921"/>
          </a:xfrm>
          <a:prstGeom prst="rect">
            <a:avLst/>
          </a:prstGeom>
        </p:spPr>
        <p:txBody>
          <a:bodyPr vert="horz" lIns="91879" tIns="45939" rIns="91879" bIns="4593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3852" y="9449354"/>
            <a:ext cx="2972547" cy="497921"/>
          </a:xfrm>
          <a:prstGeom prst="rect">
            <a:avLst/>
          </a:prstGeom>
        </p:spPr>
        <p:txBody>
          <a:bodyPr vert="horz" lIns="91879" tIns="45939" rIns="91879" bIns="45939" rtlCol="0" anchor="b"/>
          <a:lstStyle>
            <a:lvl1pPr algn="r">
              <a:defRPr sz="1200"/>
            </a:lvl1pPr>
          </a:lstStyle>
          <a:p>
            <a:fld id="{6849FA5F-E2B5-4B08-9CB5-4A63D519AE7B}" type="slidenum">
              <a:rPr lang="ru-RU" smtClean="0"/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2" y="13"/>
            <a:ext cx="2971800" cy="49736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2771" tIns="46385" rIns="92771" bIns="46385" numCol="1" anchor="t" anchorCtr="0" compatLnSpc="1"/>
          <a:lstStyle>
            <a:lvl1pPr>
              <a:defRPr sz="1200"/>
            </a:lvl1pPr>
          </a:lstStyle>
          <a:p>
            <a:endParaRPr lang="ru-RU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44" y="13"/>
            <a:ext cx="2971800" cy="49736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2771" tIns="46385" rIns="92771" bIns="46385" numCol="1" anchor="t" anchorCtr="0" compatLnSpc="1"/>
          <a:lstStyle>
            <a:lvl1pPr algn="r">
              <a:defRPr sz="1200"/>
            </a:lvl1pPr>
          </a:lstStyle>
          <a:p>
            <a:endParaRPr lang="ru-RU" dirty="0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41388" y="744538"/>
            <a:ext cx="4975225" cy="37322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  <a:effectLst/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1" y="4724971"/>
            <a:ext cx="5486400" cy="447627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2771" tIns="46385" rIns="92771" bIns="46385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2" y="9448198"/>
            <a:ext cx="2971800" cy="49736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2771" tIns="46385" rIns="92771" bIns="46385" numCol="1" anchor="b" anchorCtr="0" compatLnSpc="1"/>
          <a:lstStyle>
            <a:lvl1pPr>
              <a:defRPr sz="1200"/>
            </a:lvl1pPr>
          </a:lstStyle>
          <a:p>
            <a:endParaRPr lang="ru-RU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44" y="9448198"/>
            <a:ext cx="2971800" cy="49736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2771" tIns="46385" rIns="92771" bIns="46385" numCol="1" anchor="b" anchorCtr="0" compatLnSpc="1"/>
          <a:lstStyle>
            <a:lvl1pPr algn="r">
              <a:defRPr sz="1200"/>
            </a:lvl1pPr>
          </a:lstStyle>
          <a:p>
            <a:fld id="{5864FAE4-9723-4169-9CE8-10A7C8F50D35}" type="slidenum">
              <a:rPr lang="ru-RU"/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01625" y="671513"/>
            <a:ext cx="6575425" cy="4930775"/>
          </a:xfrm>
        </p:spPr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6425" y="5795673"/>
            <a:ext cx="5926138" cy="363697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1700" y="733425"/>
            <a:ext cx="5006975" cy="3756025"/>
          </a:xfrm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7140" y="4736804"/>
            <a:ext cx="5011615" cy="4488387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64FAE4-9723-4169-9CE8-10A7C8F50D35}" type="slidenum">
              <a:rPr lang="ru-RU" smtClean="0"/>
            </a:fld>
            <a:endParaRPr lang="ru-RU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1.vml"/><Relationship Id="rId8" Type="http://schemas.openxmlformats.org/officeDocument/2006/relationships/image" Target="../media/image23.png"/><Relationship Id="rId7" Type="http://schemas.openxmlformats.org/officeDocument/2006/relationships/image" Target="../media/image22.png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image" Target="../media/image19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9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0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re2.jpg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210" y="0"/>
            <a:ext cx="8581790" cy="766329"/>
          </a:xfrm>
        </p:spPr>
        <p:txBody>
          <a:bodyPr>
            <a:noAutofit/>
          </a:bodyPr>
          <a:lstStyle>
            <a:lvl1pPr>
              <a:defRPr sz="2600">
                <a:solidFill>
                  <a:srgbClr val="215BAE"/>
                </a:solidFill>
              </a:defRPr>
            </a:lvl1pPr>
          </a:lstStyle>
          <a:p>
            <a:r>
              <a:rPr lang="ru-RU" dirty="0"/>
              <a:t>Заголовок слайда</a:t>
            </a:r>
            <a:endParaRPr lang="en-US" dirty="0"/>
          </a:p>
        </p:txBody>
      </p:sp>
      <p:cxnSp>
        <p:nvCxnSpPr>
          <p:cNvPr id="5" name="Прямая соединительная линия 4"/>
          <p:cNvCxnSpPr/>
          <p:nvPr userDrawn="1"/>
        </p:nvCxnSpPr>
        <p:spPr>
          <a:xfrm>
            <a:off x="562210" y="1015853"/>
            <a:ext cx="8063964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Изображение 12" descr="REA_logo_version3.png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562210" y="6214281"/>
            <a:ext cx="2158814" cy="379416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8520111" y="6347475"/>
            <a:ext cx="623889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EF29B0EE-84A7-4D26-B86D-316840AB9A86}" type="slidenum">
              <a:rPr lang="en-US" sz="2600" b="1" i="0" smtClean="0">
                <a:solidFill>
                  <a:schemeClr val="bg1"/>
                </a:solidFill>
              </a:rPr>
            </a:fld>
            <a:endParaRPr lang="ru-RU" sz="2600" b="1" i="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4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navigation1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5580064" y="1076327"/>
            <a:ext cx="360362" cy="360363"/>
          </a:xfrm>
          <a:prstGeom prst="ellipse">
            <a:avLst/>
          </a:prstGeom>
          <a:solidFill>
            <a:schemeClr val="bg1"/>
          </a:solidFill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003274"/>
                </a:solidFill>
              </a:rPr>
              <a:t>1</a:t>
            </a:r>
            <a:endParaRPr lang="ru-RU" sz="2400" b="1" dirty="0">
              <a:solidFill>
                <a:srgbClr val="003274"/>
              </a:solidFill>
            </a:endParaRPr>
          </a:p>
        </p:txBody>
      </p:sp>
      <p:sp>
        <p:nvSpPr>
          <p:cNvPr id="6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5892801" y="1076327"/>
            <a:ext cx="360363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2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7" name="navigation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205538" y="1076327"/>
            <a:ext cx="360362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3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8" name="navigation4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518275" y="1076327"/>
            <a:ext cx="360363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4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9" name="navigation5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831013" y="1076327"/>
            <a:ext cx="360362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5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10" name="navigation6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143750" y="1076327"/>
            <a:ext cx="360363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6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11" name="navigation7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456489" y="1076327"/>
            <a:ext cx="360362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7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12" name="Oval 1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769226" y="1076327"/>
            <a:ext cx="360363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sz="2400" b="1" dirty="0">
                <a:solidFill>
                  <a:srgbClr val="FFFFFF"/>
                </a:solidFill>
              </a:rPr>
              <a:t>8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1044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9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1044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9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</p:spTree>
  </p:cSld>
  <p:clrMapOvr>
    <a:masterClrMapping/>
  </p:clrMapOvr>
  <p:transition>
    <p:split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FEEFEA-3023-4A04-9A9E-BB536AF37F5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4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4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76BA4F-BF08-4CD5-B53C-93FFC9B839B1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1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D30ED2-61C5-4ADC-8D39-35ED3582806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C268A0-F684-40D5-BD6F-FF7EAAF040BD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EE279B-3F16-4C21-AA23-33FDFFDD36E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C74764-A741-4C0F-8158-E9CA3E69BE7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10244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</p:spPr>
      </p:pic>
      <p:sp>
        <p:nvSpPr>
          <p:cNvPr id="1024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panose="020B0604020202020204" pitchFamily="34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panose="020B0604020202020204" pitchFamily="34" charset="0"/>
            </a:endParaRPr>
          </a:p>
        </p:txBody>
      </p:sp>
    </p:spTree>
  </p:cSld>
  <p:clrMapOvr>
    <a:masterClrMapping/>
  </p:clrMapOvr>
  <p:transition>
    <p:split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A279B9-6729-4975-BE12-1D7C3889B60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8FB96F-CAA8-43DA-AC43-15BABE0449FC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2D9A9C-59E1-44CA-8EE2-83150B43275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1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5F14F1-174B-4649-B092-E517EFD3901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</p:spTree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B78713-A8BC-4BC4-8D16-93D88FF99F1D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8780A3-EA2A-4787-B6BB-021FD5656B50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0D3EAC-2776-4EBF-8D73-1082020FEEF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DE46FD-6426-4160-9710-0682E0228C0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383196-824B-4052-B4CD-6509546A76A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124F1F2-6FF9-4637-BF9E-F181EF68C2A6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CF9EF9-DFBF-42D2-8CE4-4D89E5212402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FF8B03-3AF7-4DE3-87B7-2C0810F1FA31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650C4A-AAA6-448A-A3B8-50BC985E196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8DC42F-8B76-4B06-A823-66F4217DAF81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C28B3B-6912-4747-9303-5C4C7F25200D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68313" y="0"/>
            <a:ext cx="8424862" cy="6273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C12177-07D0-481F-80E3-F9E047B0CB4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B99CB5-857C-43CE-A641-FDF44BE69B2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2F0219C-A8B3-4DA9-8692-DFDF24EE917B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/>
          <p:nvPr userDrawn="1"/>
        </p:nvSpPr>
        <p:spPr bwMode="auto">
          <a:xfrm>
            <a:off x="8688388" y="6826250"/>
            <a:ext cx="174625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ru-RU" sz="900" dirty="0">
                <a:solidFill>
                  <a:srgbClr val="414142"/>
                </a:solidFill>
              </a:rPr>
              <a:t>‹#›</a:t>
            </a:r>
            <a:endParaRPr lang="en-US" altLang="ru-RU" sz="900" dirty="0">
              <a:solidFill>
                <a:srgbClr val="414142"/>
              </a:solidFill>
            </a:endParaRPr>
          </a:p>
          <a:p>
            <a:pPr algn="r" eaLnBrk="1" hangingPunct="1">
              <a:defRPr/>
            </a:pPr>
            <a:endParaRPr lang="en-US" altLang="ru-RU" sz="900" dirty="0">
              <a:solidFill>
                <a:srgbClr val="414142"/>
              </a:solidFill>
            </a:endParaRPr>
          </a:p>
        </p:txBody>
      </p:sp>
      <p:pic>
        <p:nvPicPr>
          <p:cNvPr id="5" name="Picture 47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79388" y="115888"/>
            <a:ext cx="925512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459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2426"/>
            <a:ext cx="681728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5" y="6448427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4964636-4CF8-43F1-A901-D975EC239D09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</p:spTree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FBB240-A293-489C-995D-4C8BC8CFA49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CD7A26-20E6-40D4-8107-CB599C6493F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CF0234-0A6C-4053-B845-D06B3CFD247B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CA5CE0-5BD0-48B8-BD36-EB78D4FDE819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D4E282-A076-4470-AE77-4B85D4BF114E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8D7C9B-30AA-4CA1-A55A-299A97B3113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CCF09E-86E2-40ED-B872-16E61CC51DAE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FEB83F-2AE9-4488-B631-E67874D202A0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5CD1E0-223F-4042-B068-7B680642583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AA4C038-C9BD-4E00-90EE-24CECB55C792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9A6143-EC3F-4ED4-AA3F-673D5B8E033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</p:spTree>
  </p:cSld>
  <p:clrMapOvr>
    <a:masterClrMapping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437E39-479F-4551-8FB3-44231663ACF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EAC4BD-9E4D-4D69-AD27-F607B10D5EAE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408278-1A58-4A51-9ABE-F8CAE813B97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94465D-5B49-4AF0-A007-57F78C73162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2DF2E9-28A8-472C-95C1-BCDC61688F0C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AE515-AB3E-46A4-9773-B9EA8789F80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172910-4814-4A29-8D96-040027BE2058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BBE5EF-8335-4AB4-9213-31C370382D52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279759B-BB9C-4C68-8523-3D0AFC6AC4A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128788-CA80-4A4C-B84B-BE01383D30E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D17BE7-08E5-443D-A9F9-E6F23C6B029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68313" y="0"/>
            <a:ext cx="8424862" cy="6273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CB95EE-C39F-4371-90A3-ED2311CBA5B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77" y="293691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79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802" y="3284539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5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0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7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59F6B0-C365-44D4-87F2-F6FB45A58E49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7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69" y="293691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99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93" y="3284539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5" name="navigation8" descr="ujkm,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69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7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9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87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D91610A-83CF-4227-8B03-ADAD4D94780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6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4" y="1624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0" name="think-cell Slide" r:id="rId3" imgW="10160" imgH="10160" progId="">
                  <p:embed/>
                </p:oleObj>
              </mc:Choice>
              <mc:Fallback>
                <p:oleObj name="think-cell Slide" r:id="rId3" imgW="10160" imgH="101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4" y="1624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5" y="349865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  <a:endParaRPr lang="ru-RU" sz="900" b="1" dirty="0">
              <a:solidFill>
                <a:srgbClr val="000000"/>
              </a:solidFill>
            </a:endParaRP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914400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508604"/>
            <a:ext cx="3264776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799" y="668959"/>
            <a:ext cx="2872217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50721" y="5030931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50721" y="5304665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4" y="4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66" tIns="46633" rIns="93266" bIns="46633" anchor="ctr"/>
          <a:lstStyle/>
          <a:p>
            <a:pPr defTabSz="914400"/>
            <a:endParaRPr lang="ru-RU" sz="1600" dirty="0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320063" y="6574549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50718" y="2919391"/>
            <a:ext cx="5036084" cy="1015663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50718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293136" y="4617893"/>
            <a:ext cx="5850864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2959" y="194373"/>
            <a:ext cx="912780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2050722" y="2119331"/>
            <a:ext cx="1255377" cy="90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3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8568903" y="6434905"/>
            <a:ext cx="541731" cy="439639"/>
          </a:xfrm>
          <a:prstGeom prst="rect">
            <a:avLst/>
          </a:prstGeom>
        </p:spPr>
        <p:txBody>
          <a:bodyPr wrap="none" lIns="93276" tIns="46638" rIns="93276" bIns="46638">
            <a:spAutoFit/>
          </a:bodyPr>
          <a:lstStyle/>
          <a:p>
            <a:pPr defTabSz="914400"/>
            <a:fld id="{3F385F46-FE36-43E0-8AEF-AC9950742405}" type="slidenum">
              <a:rPr lang="ru-RU" sz="2200" smtClean="0">
                <a:solidFill>
                  <a:srgbClr val="003274"/>
                </a:solidFill>
                <a:latin typeface="Arial" panose="020B0604020202020204"/>
              </a:rPr>
            </a:fld>
            <a:endParaRPr lang="ru-RU" sz="2200" dirty="0">
              <a:solidFill>
                <a:srgbClr val="000000"/>
              </a:solidFill>
              <a:latin typeface="Arial" panose="020B0604020202020204"/>
            </a:endParaRPr>
          </a:p>
        </p:txBody>
      </p:sp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C12AFCB-AB72-4856-A2F2-B569ED688A02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2426"/>
            <a:ext cx="681728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5" y="6448427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F5AD4FB-195D-4824-9DCA-C935451C97A2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FB1AA17-3238-46F2-B51F-12E5145C30E0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/>
          <p:nvPr userDrawn="1"/>
        </p:nvSpPr>
        <p:spPr bwMode="auto">
          <a:xfrm>
            <a:off x="8688388" y="6826250"/>
            <a:ext cx="174625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ru-RU" sz="900" dirty="0">
                <a:solidFill>
                  <a:srgbClr val="414142"/>
                </a:solidFill>
              </a:rPr>
              <a:t>‹#›</a:t>
            </a:r>
            <a:endParaRPr lang="en-US" altLang="ru-RU" sz="900" dirty="0">
              <a:solidFill>
                <a:srgbClr val="414142"/>
              </a:solidFill>
            </a:endParaRPr>
          </a:p>
          <a:p>
            <a:pPr algn="r" eaLnBrk="1" hangingPunct="1">
              <a:defRPr/>
            </a:pPr>
            <a:endParaRPr lang="en-US" altLang="ru-RU" sz="900" dirty="0">
              <a:solidFill>
                <a:srgbClr val="414142"/>
              </a:solidFill>
            </a:endParaRPr>
          </a:p>
        </p:txBody>
      </p:sp>
      <p:pic>
        <p:nvPicPr>
          <p:cNvPr id="5" name="Picture 47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79388" y="115888"/>
            <a:ext cx="925512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459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/>
          <p:nvPr userDrawn="1"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0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sp>
        <p:nvSpPr>
          <p:cNvPr id="286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8676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</p:spPr>
      </p:pic>
      <p:sp>
        <p:nvSpPr>
          <p:cNvPr id="28677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panose="020B0604020202020204" pitchFamily="34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panose="020B0604020202020204" pitchFamily="34" charset="0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5619757" y="1198773"/>
            <a:ext cx="1879610" cy="365126"/>
            <a:chOff x="5580063" y="1076325"/>
            <a:chExt cx="1879610" cy="365126"/>
          </a:xfrm>
        </p:grpSpPr>
        <p:sp>
          <p:nvSpPr>
            <p:cNvPr id="10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099311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1196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199192" y="1081088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3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F29FA2-1520-478E-AF9E-BAA4CD04FBE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A2FB20B-F89F-41E4-94A9-71917891D25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E377D9F-5A26-4CB6-82A0-7D2E6011D530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6D090AC-9A7A-4070-BA8A-812C43F115AB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B73E87F-6FBA-4E4E-885D-8A3712AB59F6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DD8CCC4-086C-43A9-A3FC-51A043EEADB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7AAFD0C-7A7F-4BED-9477-BB2868116BD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5B3385A-D17A-44E8-9D2C-152CA88682A5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211A97E-C877-400F-9B79-73DCB6E256A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B9C9F55-5523-4322-9DEE-23C689F6064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32772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</p:spPr>
      </p:pic>
      <p:sp>
        <p:nvSpPr>
          <p:cNvPr id="32773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panose="020B0604020202020204" pitchFamily="34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panose="020B0604020202020204" pitchFamily="34" charset="0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5634045" y="1190609"/>
            <a:ext cx="1879611" cy="374653"/>
            <a:chOff x="5570538" y="1071558"/>
            <a:chExt cx="1879611" cy="374653"/>
          </a:xfrm>
        </p:grpSpPr>
        <p:sp>
          <p:nvSpPr>
            <p:cNvPr id="10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089787" y="1071558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3101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70538" y="1085848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1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90D76F4-01B1-4081-BCB5-5C391BDE07A6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52460FC-B8E0-4CB2-80E4-0F03432EDCB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73A6EC6-6644-4893-BA07-0E120D2DFC7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A1E9790-7F1B-4B30-9094-B58ED56AD31E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D9CAC4D-9498-46D3-AC8C-DE5239890B1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9652F28-FB14-45E9-9047-5B101D03FCCD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CFF18B0-9C34-49D7-963F-212DA0F92C6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B5E9FB2-C7A7-466D-A7C2-BD159AA53E30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05B0BD0-F387-4188-A177-65B27AD322A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60F077E-F27C-4C81-9FF1-8B8FFD1FA68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34820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</p:spPr>
      </p:pic>
      <p:sp>
        <p:nvSpPr>
          <p:cNvPr id="34821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panose="020B0604020202020204" pitchFamily="34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panose="020B0604020202020204" pitchFamily="34" charset="0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5634044" y="1214422"/>
            <a:ext cx="1885968" cy="365126"/>
            <a:chOff x="5580063" y="1071562"/>
            <a:chExt cx="1885968" cy="365126"/>
          </a:xfrm>
        </p:grpSpPr>
        <p:sp>
          <p:nvSpPr>
            <p:cNvPr id="10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105668" y="1071562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3101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72172" y="1076325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2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CB0E0F2-DEBE-4131-B760-817C04D4D3E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7A1448-9BFF-47DA-8117-5F6FC7229A7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2A49DA-44CA-4C61-B0FF-70A4E02E6CF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FF5DFF0-4B22-4E6A-B7D6-1D899529252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FBED01D-0AEA-4AC6-B83E-548AE44D8AB8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FEDB50-DC7D-4CE8-8464-39F735679AE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18D208-1704-45CE-A871-CEA3A08E0BA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ACE38C-DDE3-48E5-A640-BB050C5DBBD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EB209F-DB5C-49FC-8C17-3740E26DB78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22056C2-A88F-404C-89B7-5C34345050D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0"/>
            <a:ext cx="7632700" cy="962025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68313" y="1125538"/>
            <a:ext cx="8424862" cy="5148262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69F1B6-96DE-4708-90AE-1648652F4A5D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1_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</a:rPr>
              <a:t>www.rosatom.ru</a:t>
            </a:r>
            <a:endParaRPr lang="ru-RU" sz="1400" b="1" dirty="0">
              <a:solidFill>
                <a:schemeClr val="hlink"/>
              </a:solidFill>
            </a:endParaRPr>
          </a:p>
        </p:txBody>
      </p:sp>
      <p:sp>
        <p:nvSpPr>
          <p:cNvPr id="1105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1105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grpSp>
        <p:nvGrpSpPr>
          <p:cNvPr id="10" name="Группа 9"/>
          <p:cNvGrpSpPr/>
          <p:nvPr userDrawn="1"/>
        </p:nvGrpSpPr>
        <p:grpSpPr>
          <a:xfrm>
            <a:off x="5580063" y="1194011"/>
            <a:ext cx="1924068" cy="369888"/>
            <a:chOff x="5580063" y="1074732"/>
            <a:chExt cx="1924068" cy="369888"/>
          </a:xfrm>
        </p:grpSpPr>
        <p:sp>
          <p:nvSpPr>
            <p:cNvPr id="11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143768" y="1084257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3101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491301" y="1074732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4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CB0E0F2-DEBE-4131-B760-817C04D4D3E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7A1448-9BFF-47DA-8117-5F6FC7229A7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2A49DA-44CA-4C61-B0FF-70A4E02E6CF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FF5DFF0-4B22-4E6A-B7D6-1D899529252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FBED01D-0AEA-4AC6-B83E-548AE44D8AB8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FEDB50-DC7D-4CE8-8464-39F735679AE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18D208-1704-45CE-A871-CEA3A08E0BA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ACE38C-DDE3-48E5-A640-BB050C5DBBD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EB209F-DB5C-49FC-8C17-3740E26DB78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22056C2-A88F-404C-89B7-5C34345050D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2_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</a:rPr>
              <a:t>www.rosatom.ru</a:t>
            </a:r>
            <a:endParaRPr lang="ru-RU" sz="1400" b="1" dirty="0">
              <a:solidFill>
                <a:schemeClr val="hlink"/>
              </a:solidFill>
            </a:endParaRPr>
          </a:p>
        </p:txBody>
      </p:sp>
      <p:sp>
        <p:nvSpPr>
          <p:cNvPr id="1126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1126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grpSp>
        <p:nvGrpSpPr>
          <p:cNvPr id="11" name="Группа 10"/>
          <p:cNvGrpSpPr/>
          <p:nvPr userDrawn="1"/>
        </p:nvGrpSpPr>
        <p:grpSpPr>
          <a:xfrm>
            <a:off x="5637213" y="1194011"/>
            <a:ext cx="1992333" cy="369888"/>
            <a:chOff x="5580063" y="1066800"/>
            <a:chExt cx="1992333" cy="369888"/>
          </a:xfrm>
        </p:grpSpPr>
        <p:sp>
          <p:nvSpPr>
            <p:cNvPr id="12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66800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212034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7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59606" y="1073152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5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CB0E0F2-DEBE-4131-B760-817C04D4D3E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7A1448-9BFF-47DA-8117-5F6FC7229A7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2A49DA-44CA-4C61-B0FF-70A4E02E6CF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FF5DFF0-4B22-4E6A-B7D6-1D899529252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FBED01D-0AEA-4AC6-B83E-548AE44D8AB8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FEDB50-DC7D-4CE8-8464-39F735679AE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18D208-1704-45CE-A871-CEA3A08E0BA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ACE38C-DDE3-48E5-A640-BB050C5DBBD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EB209F-DB5C-49FC-8C17-3740E26DB78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22056C2-A88F-404C-89B7-5C34345050D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</a:rPr>
              <a:t>www.rosatom.ru</a:t>
            </a:r>
            <a:endParaRPr lang="ru-RU" sz="1400" b="1" dirty="0">
              <a:solidFill>
                <a:schemeClr val="hlink"/>
              </a:solidFill>
            </a:endParaRPr>
          </a:p>
        </p:txBody>
      </p:sp>
      <p:grpSp>
        <p:nvGrpSpPr>
          <p:cNvPr id="14" name="Группа 13"/>
          <p:cNvGrpSpPr/>
          <p:nvPr userDrawn="1"/>
        </p:nvGrpSpPr>
        <p:grpSpPr>
          <a:xfrm>
            <a:off x="5618163" y="1198789"/>
            <a:ext cx="1924050" cy="360363"/>
            <a:chOff x="5580063" y="1076325"/>
            <a:chExt cx="1924050" cy="360363"/>
          </a:xfrm>
        </p:grpSpPr>
        <p:sp>
          <p:nvSpPr>
            <p:cNvPr id="6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8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3101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143750" y="1076325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hlink"/>
                  </a:solidFill>
                </a:rPr>
                <a:t>6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  <p:sp>
        <p:nvSpPr>
          <p:cNvPr id="11469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11469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</p:spTree>
  </p:cSld>
  <p:clrMapOvr>
    <a:masterClrMapping/>
  </p:clrMapOvr>
  <p:transition>
    <p:split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CB0E0F2-DEBE-4131-B760-817C04D4D3E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7A1448-9BFF-47DA-8117-5F6FC7229A7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2A49DA-44CA-4C61-B0FF-70A4E02E6CF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FF5DFF0-4B22-4E6A-B7D6-1D899529252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FBED01D-0AEA-4AC6-B83E-548AE44D8AB8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FEDB50-DC7D-4CE8-8464-39F735679AE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18D208-1704-45CE-A871-CEA3A08E0BA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ACE38C-DDE3-48E5-A640-BB050C5DBBD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EB209F-DB5C-49FC-8C17-3740E26DB78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22056C2-A88F-404C-89B7-5C34345050D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09.xml"/><Relationship Id="rId8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102.xml"/><Relationship Id="rId17" Type="http://schemas.openxmlformats.org/officeDocument/2006/relationships/theme" Target="../theme/theme10.xml"/><Relationship Id="rId16" Type="http://schemas.openxmlformats.org/officeDocument/2006/relationships/image" Target="../media/image6.png"/><Relationship Id="rId15" Type="http://schemas.openxmlformats.org/officeDocument/2006/relationships/image" Target="../media/image5.png"/><Relationship Id="rId14" Type="http://schemas.openxmlformats.org/officeDocument/2006/relationships/image" Target="../media/image4.png"/><Relationship Id="rId13" Type="http://schemas.openxmlformats.org/officeDocument/2006/relationships/image" Target="../media/image3.jpeg"/><Relationship Id="rId12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1.xml"/><Relationship Id="rId10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1.xml"/></Relationships>
</file>

<file path=ppt/slideMasters/_rels/slideMaster1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21.xml"/><Relationship Id="rId8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14.xml"/><Relationship Id="rId16" Type="http://schemas.openxmlformats.org/officeDocument/2006/relationships/theme" Target="../theme/theme11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13.xml"/></Relationships>
</file>

<file path=ppt/slideMasters/_rels/slideMaster1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32.xml"/><Relationship Id="rId8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27.xml"/><Relationship Id="rId3" Type="http://schemas.openxmlformats.org/officeDocument/2006/relationships/slideLayout" Target="../slideLayouts/slideLayout126.xml"/><Relationship Id="rId2" Type="http://schemas.openxmlformats.org/officeDocument/2006/relationships/slideLayout" Target="../slideLayouts/slideLayout125.xml"/><Relationship Id="rId18" Type="http://schemas.openxmlformats.org/officeDocument/2006/relationships/theme" Target="../theme/theme12.xml"/><Relationship Id="rId17" Type="http://schemas.openxmlformats.org/officeDocument/2006/relationships/image" Target="../media/image6.png"/><Relationship Id="rId16" Type="http://schemas.openxmlformats.org/officeDocument/2006/relationships/image" Target="../media/image5.png"/><Relationship Id="rId15" Type="http://schemas.openxmlformats.org/officeDocument/2006/relationships/image" Target="../media/image4.png"/><Relationship Id="rId14" Type="http://schemas.openxmlformats.org/officeDocument/2006/relationships/image" Target="../media/image3.jpeg"/><Relationship Id="rId13" Type="http://schemas.openxmlformats.org/officeDocument/2006/relationships/slideLayout" Target="../slideLayouts/slideLayout136.xml"/><Relationship Id="rId12" Type="http://schemas.openxmlformats.org/officeDocument/2006/relationships/slideLayout" Target="../slideLayouts/slideLayout135.xml"/><Relationship Id="rId11" Type="http://schemas.openxmlformats.org/officeDocument/2006/relationships/slideLayout" Target="../slideLayouts/slideLayout134.xml"/><Relationship Id="rId10" Type="http://schemas.openxmlformats.org/officeDocument/2006/relationships/slideLayout" Target="../slideLayouts/slideLayout133.xml"/><Relationship Id="rId1" Type="http://schemas.openxmlformats.org/officeDocument/2006/relationships/slideLayout" Target="../slideLayouts/slideLayout124.xml"/></Relationships>
</file>

<file path=ppt/slideMasters/_rels/slideMaster1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45.xml"/><Relationship Id="rId8" Type="http://schemas.openxmlformats.org/officeDocument/2006/relationships/slideLayout" Target="../slideLayouts/slideLayout144.xml"/><Relationship Id="rId7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2.xml"/><Relationship Id="rId5" Type="http://schemas.openxmlformats.org/officeDocument/2006/relationships/slideLayout" Target="../slideLayouts/slideLayout141.xml"/><Relationship Id="rId4" Type="http://schemas.openxmlformats.org/officeDocument/2006/relationships/slideLayout" Target="../slideLayouts/slideLayout140.xml"/><Relationship Id="rId3" Type="http://schemas.openxmlformats.org/officeDocument/2006/relationships/slideLayout" Target="../slideLayouts/slideLayout139.xml"/><Relationship Id="rId2" Type="http://schemas.openxmlformats.org/officeDocument/2006/relationships/slideLayout" Target="../slideLayouts/slideLayout138.xml"/><Relationship Id="rId18" Type="http://schemas.openxmlformats.org/officeDocument/2006/relationships/theme" Target="../theme/theme13.xml"/><Relationship Id="rId17" Type="http://schemas.openxmlformats.org/officeDocument/2006/relationships/image" Target="../media/image6.png"/><Relationship Id="rId16" Type="http://schemas.openxmlformats.org/officeDocument/2006/relationships/image" Target="../media/image5.png"/><Relationship Id="rId15" Type="http://schemas.openxmlformats.org/officeDocument/2006/relationships/image" Target="../media/image4.png"/><Relationship Id="rId14" Type="http://schemas.openxmlformats.org/officeDocument/2006/relationships/image" Target="../media/image3.jpeg"/><Relationship Id="rId13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47.xml"/><Relationship Id="rId10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37.xml"/></Relationships>
</file>

<file path=ppt/slideMasters/_rels/slideMaster1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58.xml"/><Relationship Id="rId8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54.xml"/><Relationship Id="rId4" Type="http://schemas.openxmlformats.org/officeDocument/2006/relationships/slideLayout" Target="../slideLayouts/slideLayout153.xml"/><Relationship Id="rId3" Type="http://schemas.openxmlformats.org/officeDocument/2006/relationships/slideLayout" Target="../slideLayouts/slideLayout152.xml"/><Relationship Id="rId2" Type="http://schemas.openxmlformats.org/officeDocument/2006/relationships/slideLayout" Target="../slideLayouts/slideLayout151.xml"/><Relationship Id="rId16" Type="http://schemas.openxmlformats.org/officeDocument/2006/relationships/theme" Target="../theme/theme14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160.xml"/><Relationship Id="rId10" Type="http://schemas.openxmlformats.org/officeDocument/2006/relationships/slideLayout" Target="../slideLayouts/slideLayout159.xml"/><Relationship Id="rId1" Type="http://schemas.openxmlformats.org/officeDocument/2006/relationships/slideLayout" Target="../slideLayouts/slideLayout150.xml"/></Relationships>
</file>

<file path=ppt/slideMasters/_rels/slideMaster1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69.xml"/><Relationship Id="rId8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64.xml"/><Relationship Id="rId3" Type="http://schemas.openxmlformats.org/officeDocument/2006/relationships/slideLayout" Target="../slideLayouts/slideLayout163.xml"/><Relationship Id="rId2" Type="http://schemas.openxmlformats.org/officeDocument/2006/relationships/slideLayout" Target="../slideLayouts/slideLayout162.xml"/><Relationship Id="rId17" Type="http://schemas.openxmlformats.org/officeDocument/2006/relationships/theme" Target="../theme/theme15.xml"/><Relationship Id="rId16" Type="http://schemas.openxmlformats.org/officeDocument/2006/relationships/image" Target="../media/image6.png"/><Relationship Id="rId15" Type="http://schemas.openxmlformats.org/officeDocument/2006/relationships/image" Target="../media/image5.png"/><Relationship Id="rId14" Type="http://schemas.openxmlformats.org/officeDocument/2006/relationships/image" Target="../media/image4.png"/><Relationship Id="rId13" Type="http://schemas.openxmlformats.org/officeDocument/2006/relationships/image" Target="../media/image3.jpeg"/><Relationship Id="rId12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1.xml"/><Relationship Id="rId10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61.xml"/></Relationships>
</file>

<file path=ppt/slideMasters/_rels/slideMaster1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81.xml"/><Relationship Id="rId8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79.xml"/><Relationship Id="rId6" Type="http://schemas.openxmlformats.org/officeDocument/2006/relationships/slideLayout" Target="../slideLayouts/slideLayout178.xml"/><Relationship Id="rId5" Type="http://schemas.openxmlformats.org/officeDocument/2006/relationships/slideLayout" Target="../slideLayouts/slideLayout177.xml"/><Relationship Id="rId4" Type="http://schemas.openxmlformats.org/officeDocument/2006/relationships/slideLayout" Target="../slideLayouts/slideLayout176.xml"/><Relationship Id="rId3" Type="http://schemas.openxmlformats.org/officeDocument/2006/relationships/slideLayout" Target="../slideLayouts/slideLayout175.xml"/><Relationship Id="rId2" Type="http://schemas.openxmlformats.org/officeDocument/2006/relationships/slideLayout" Target="../slideLayouts/slideLayout174.xml"/><Relationship Id="rId16" Type="http://schemas.openxmlformats.org/officeDocument/2006/relationships/theme" Target="../theme/theme16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183.xml"/><Relationship Id="rId10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73.xml"/></Relationships>
</file>

<file path=ppt/slideMasters/_rels/slideMaster17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92.xml"/><Relationship Id="rId8" Type="http://schemas.openxmlformats.org/officeDocument/2006/relationships/slideLayout" Target="../slideLayouts/slideLayout191.xml"/><Relationship Id="rId7" Type="http://schemas.openxmlformats.org/officeDocument/2006/relationships/slideLayout" Target="../slideLayouts/slideLayout190.xml"/><Relationship Id="rId6" Type="http://schemas.openxmlformats.org/officeDocument/2006/relationships/slideLayout" Target="../slideLayouts/slideLayout189.xml"/><Relationship Id="rId5" Type="http://schemas.openxmlformats.org/officeDocument/2006/relationships/slideLayout" Target="../slideLayouts/slideLayout188.xml"/><Relationship Id="rId4" Type="http://schemas.openxmlformats.org/officeDocument/2006/relationships/slideLayout" Target="../slideLayouts/slideLayout187.xml"/><Relationship Id="rId3" Type="http://schemas.openxmlformats.org/officeDocument/2006/relationships/slideLayout" Target="../slideLayouts/slideLayout186.xml"/><Relationship Id="rId2" Type="http://schemas.openxmlformats.org/officeDocument/2006/relationships/slideLayout" Target="../slideLayouts/slideLayout185.xml"/><Relationship Id="rId16" Type="http://schemas.openxmlformats.org/officeDocument/2006/relationships/theme" Target="../theme/theme17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194.xml"/><Relationship Id="rId10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184.xml"/></Relationships>
</file>

<file path=ppt/slideMasters/_rels/slideMaster18.xml.rels><?xml version="1.0" encoding="UTF-8" standalone="yes"?>
<Relationships xmlns="http://schemas.openxmlformats.org/package/2006/relationships"><Relationship Id="rId9" Type="http://schemas.openxmlformats.org/officeDocument/2006/relationships/theme" Target="../theme/theme18.xml"/><Relationship Id="rId8" Type="http://schemas.openxmlformats.org/officeDocument/2006/relationships/vmlDrawing" Target="../drawings/vmlDrawing2.vml"/><Relationship Id="rId7" Type="http://schemas.openxmlformats.org/officeDocument/2006/relationships/image" Target="../media/image26.png"/><Relationship Id="rId6" Type="http://schemas.openxmlformats.org/officeDocument/2006/relationships/image" Target="../media/image25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.bin"/><Relationship Id="rId3" Type="http://schemas.openxmlformats.org/officeDocument/2006/relationships/tags" Target="../tags/tag2.xml"/><Relationship Id="rId2" Type="http://schemas.openxmlformats.org/officeDocument/2006/relationships/slideLayout" Target="../slideLayouts/slideLayout196.xml"/><Relationship Id="rId1" Type="http://schemas.openxmlformats.org/officeDocument/2006/relationships/slideLayout" Target="../slideLayouts/slideLayout195.xml"/></Relationships>
</file>

<file path=ppt/slideMasters/_rels/slideMaster1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05.xml"/><Relationship Id="rId8" Type="http://schemas.openxmlformats.org/officeDocument/2006/relationships/slideLayout" Target="../slideLayouts/slideLayout204.xml"/><Relationship Id="rId7" Type="http://schemas.openxmlformats.org/officeDocument/2006/relationships/slideLayout" Target="../slideLayouts/slideLayout203.xml"/><Relationship Id="rId6" Type="http://schemas.openxmlformats.org/officeDocument/2006/relationships/slideLayout" Target="../slideLayouts/slideLayout202.xml"/><Relationship Id="rId5" Type="http://schemas.openxmlformats.org/officeDocument/2006/relationships/slideLayout" Target="../slideLayouts/slideLayout201.xml"/><Relationship Id="rId4" Type="http://schemas.openxmlformats.org/officeDocument/2006/relationships/slideLayout" Target="../slideLayouts/slideLayout200.xml"/><Relationship Id="rId3" Type="http://schemas.openxmlformats.org/officeDocument/2006/relationships/slideLayout" Target="../slideLayouts/slideLayout199.xml"/><Relationship Id="rId2" Type="http://schemas.openxmlformats.org/officeDocument/2006/relationships/slideLayout" Target="../slideLayouts/slideLayout198.xml"/><Relationship Id="rId17" Type="http://schemas.openxmlformats.org/officeDocument/2006/relationships/theme" Target="../theme/theme19.xml"/><Relationship Id="rId16" Type="http://schemas.openxmlformats.org/officeDocument/2006/relationships/image" Target="../media/image6.png"/><Relationship Id="rId15" Type="http://schemas.openxmlformats.org/officeDocument/2006/relationships/image" Target="../media/image5.png"/><Relationship Id="rId14" Type="http://schemas.openxmlformats.org/officeDocument/2006/relationships/image" Target="../media/image30.png"/><Relationship Id="rId13" Type="http://schemas.openxmlformats.org/officeDocument/2006/relationships/image" Target="../media/image29.jpeg"/><Relationship Id="rId12" Type="http://schemas.openxmlformats.org/officeDocument/2006/relationships/slideLayout" Target="../slideLayouts/slideLayout208.xml"/><Relationship Id="rId11" Type="http://schemas.openxmlformats.org/officeDocument/2006/relationships/slideLayout" Target="../slideLayouts/slideLayout207.xml"/><Relationship Id="rId10" Type="http://schemas.openxmlformats.org/officeDocument/2006/relationships/slideLayout" Target="../slideLayouts/slideLayout206.xml"/><Relationship Id="rId1" Type="http://schemas.openxmlformats.org/officeDocument/2006/relationships/slideLayout" Target="../slideLayouts/slideLayout197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0.xml"/><Relationship Id="rId8" Type="http://schemas.openxmlformats.org/officeDocument/2006/relationships/slideLayout" Target="../slideLayouts/slideLayout19.xml"/><Relationship Id="rId7" Type="http://schemas.openxmlformats.org/officeDocument/2006/relationships/slideLayout" Target="../slideLayouts/slideLayout18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6" Type="http://schemas.openxmlformats.org/officeDocument/2006/relationships/theme" Target="../theme/theme2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9.jpeg"/><Relationship Id="rId11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1.xml"/><Relationship Id="rId1" Type="http://schemas.openxmlformats.org/officeDocument/2006/relationships/slideLayout" Target="../slideLayouts/slideLayout12.xml"/></Relationships>
</file>

<file path=ppt/slideMasters/_rels/slideMaster20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17.xml"/><Relationship Id="rId8" Type="http://schemas.openxmlformats.org/officeDocument/2006/relationships/slideLayout" Target="../slideLayouts/slideLayout216.xml"/><Relationship Id="rId7" Type="http://schemas.openxmlformats.org/officeDocument/2006/relationships/slideLayout" Target="../slideLayouts/slideLayout215.xml"/><Relationship Id="rId6" Type="http://schemas.openxmlformats.org/officeDocument/2006/relationships/slideLayout" Target="../slideLayouts/slideLayout214.xml"/><Relationship Id="rId5" Type="http://schemas.openxmlformats.org/officeDocument/2006/relationships/slideLayout" Target="../slideLayouts/slideLayout213.xml"/><Relationship Id="rId4" Type="http://schemas.openxmlformats.org/officeDocument/2006/relationships/slideLayout" Target="../slideLayouts/slideLayout212.xml"/><Relationship Id="rId3" Type="http://schemas.openxmlformats.org/officeDocument/2006/relationships/slideLayout" Target="../slideLayouts/slideLayout211.xml"/><Relationship Id="rId2" Type="http://schemas.openxmlformats.org/officeDocument/2006/relationships/slideLayout" Target="../slideLayouts/slideLayout210.xml"/><Relationship Id="rId14" Type="http://schemas.openxmlformats.org/officeDocument/2006/relationships/theme" Target="../theme/theme20.xml"/><Relationship Id="rId13" Type="http://schemas.openxmlformats.org/officeDocument/2006/relationships/slideLayout" Target="../slideLayouts/slideLayout221.xml"/><Relationship Id="rId12" Type="http://schemas.openxmlformats.org/officeDocument/2006/relationships/slideLayout" Target="../slideLayouts/slideLayout220.xml"/><Relationship Id="rId11" Type="http://schemas.openxmlformats.org/officeDocument/2006/relationships/slideLayout" Target="../slideLayouts/slideLayout219.xml"/><Relationship Id="rId10" Type="http://schemas.openxmlformats.org/officeDocument/2006/relationships/slideLayout" Target="../slideLayouts/slideLayout218.xml"/><Relationship Id="rId1" Type="http://schemas.openxmlformats.org/officeDocument/2006/relationships/slideLayout" Target="../slideLayouts/slideLayout209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1.xml"/><Relationship Id="rId8" Type="http://schemas.openxmlformats.org/officeDocument/2006/relationships/slideLayout" Target="../slideLayouts/slideLayout30.xml"/><Relationship Id="rId7" Type="http://schemas.openxmlformats.org/officeDocument/2006/relationships/slideLayout" Target="../slideLayouts/slideLayout29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4.xml"/><Relationship Id="rId16" Type="http://schemas.openxmlformats.org/officeDocument/2006/relationships/theme" Target="../theme/theme3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2.xml"/><Relationship Id="rId1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2.xml"/><Relationship Id="rId8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0.xml"/><Relationship Id="rId6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5.xml"/><Relationship Id="rId16" Type="http://schemas.openxmlformats.org/officeDocument/2006/relationships/theme" Target="../theme/theme4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34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53.xml"/><Relationship Id="rId8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6.xml"/><Relationship Id="rId17" Type="http://schemas.openxmlformats.org/officeDocument/2006/relationships/theme" Target="../theme/theme5.xml"/><Relationship Id="rId16" Type="http://schemas.openxmlformats.org/officeDocument/2006/relationships/image" Target="../media/image6.png"/><Relationship Id="rId15" Type="http://schemas.openxmlformats.org/officeDocument/2006/relationships/image" Target="../media/image5.png"/><Relationship Id="rId14" Type="http://schemas.openxmlformats.org/officeDocument/2006/relationships/image" Target="../media/image4.png"/><Relationship Id="rId13" Type="http://schemas.openxmlformats.org/officeDocument/2006/relationships/image" Target="../media/image3.jpeg"/><Relationship Id="rId12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54.xml"/><Relationship Id="rId1" Type="http://schemas.openxmlformats.org/officeDocument/2006/relationships/slideLayout" Target="../slideLayouts/slideLayout45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5.xml"/><Relationship Id="rId8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2.xml"/><Relationship Id="rId5" Type="http://schemas.openxmlformats.org/officeDocument/2006/relationships/slideLayout" Target="../slideLayouts/slideLayout61.xml"/><Relationship Id="rId4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8.xml"/><Relationship Id="rId16" Type="http://schemas.openxmlformats.org/officeDocument/2006/relationships/theme" Target="../theme/theme6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66.xml"/><Relationship Id="rId1" Type="http://schemas.openxmlformats.org/officeDocument/2006/relationships/slideLayout" Target="../slideLayouts/slideLayout57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76.xml"/><Relationship Id="rId8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3.xml"/><Relationship Id="rId5" Type="http://schemas.openxmlformats.org/officeDocument/2006/relationships/slideLayout" Target="../slideLayouts/slideLayout72.xml"/><Relationship Id="rId4" Type="http://schemas.openxmlformats.org/officeDocument/2006/relationships/slideLayout" Target="../slideLayouts/slideLayout71.xml"/><Relationship Id="rId3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9.xml"/><Relationship Id="rId16" Type="http://schemas.openxmlformats.org/officeDocument/2006/relationships/theme" Target="../theme/theme7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77.xml"/><Relationship Id="rId1" Type="http://schemas.openxmlformats.org/officeDocument/2006/relationships/slideLayout" Target="../slideLayouts/slideLayout68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87.xml"/><Relationship Id="rId8" Type="http://schemas.openxmlformats.org/officeDocument/2006/relationships/slideLayout" Target="../slideLayouts/slideLayout86.xml"/><Relationship Id="rId7" Type="http://schemas.openxmlformats.org/officeDocument/2006/relationships/slideLayout" Target="../slideLayouts/slideLayout85.xml"/><Relationship Id="rId6" Type="http://schemas.openxmlformats.org/officeDocument/2006/relationships/slideLayout" Target="../slideLayouts/slideLayout84.xml"/><Relationship Id="rId5" Type="http://schemas.openxmlformats.org/officeDocument/2006/relationships/slideLayout" Target="../slideLayouts/slideLayout83.xml"/><Relationship Id="rId4" Type="http://schemas.openxmlformats.org/officeDocument/2006/relationships/slideLayout" Target="../slideLayouts/slideLayout82.xml"/><Relationship Id="rId3" Type="http://schemas.openxmlformats.org/officeDocument/2006/relationships/slideLayout" Target="../slideLayouts/slideLayout81.xml"/><Relationship Id="rId2" Type="http://schemas.openxmlformats.org/officeDocument/2006/relationships/slideLayout" Target="../slideLayouts/slideLayout80.xml"/><Relationship Id="rId16" Type="http://schemas.openxmlformats.org/officeDocument/2006/relationships/theme" Target="../theme/theme8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88.xml"/><Relationship Id="rId1" Type="http://schemas.openxmlformats.org/officeDocument/2006/relationships/slideLayout" Target="../slideLayouts/slideLayout79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8.xml"/><Relationship Id="rId8" Type="http://schemas.openxmlformats.org/officeDocument/2006/relationships/slideLayout" Target="../slideLayouts/slideLayout97.xml"/><Relationship Id="rId7" Type="http://schemas.openxmlformats.org/officeDocument/2006/relationships/slideLayout" Target="../slideLayouts/slideLayout96.xml"/><Relationship Id="rId6" Type="http://schemas.openxmlformats.org/officeDocument/2006/relationships/slideLayout" Target="../slideLayouts/slideLayout95.xml"/><Relationship Id="rId5" Type="http://schemas.openxmlformats.org/officeDocument/2006/relationships/slideLayout" Target="../slideLayouts/slideLayout94.xml"/><Relationship Id="rId4" Type="http://schemas.openxmlformats.org/officeDocument/2006/relationships/slideLayout" Target="../slideLayouts/slideLayout93.xml"/><Relationship Id="rId3" Type="http://schemas.openxmlformats.org/officeDocument/2006/relationships/slideLayout" Target="../slideLayouts/slideLayout92.xml"/><Relationship Id="rId2" Type="http://schemas.openxmlformats.org/officeDocument/2006/relationships/slideLayout" Target="../slideLayouts/slideLayout91.xml"/><Relationship Id="rId16" Type="http://schemas.openxmlformats.org/officeDocument/2006/relationships/theme" Target="../theme/theme9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99.xml"/><Relationship Id="rId1" Type="http://schemas.openxmlformats.org/officeDocument/2006/relationships/slideLayout" Target="../slideLayouts/slideLayout9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/>
            </a:fld>
            <a:endParaRPr lang="ru-RU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69" r:id="rId12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10342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7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pPr>
              <a:defRPr/>
            </a:pPr>
            <a:fld id="{0A2E7403-A31C-4612-ADD8-582B85A3F13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4" y="1125538"/>
            <a:ext cx="8424862" cy="514826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pic>
        <p:nvPicPr>
          <p:cNvPr id="4112" name="Picture 16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441" name="Rectangle 17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2163764" y="6469065"/>
            <a:ext cx="179387" cy="179387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ru-RU" sz="1200" b="1" dirty="0">
              <a:solidFill>
                <a:srgbClr val="41414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 fontAlgn="auto">
              <a:spcBef>
                <a:spcPts val="0"/>
              </a:spcBef>
              <a:spcAft>
                <a:spcPts val="0"/>
              </a:spcAft>
              <a:defRPr sz="2200" b="1">
                <a:solidFill>
                  <a:srgbClr val="003274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7531B5C-6534-4308-BBE4-BDA73A2632AA}" type="slidenum">
              <a:rPr lang="ru-RU"/>
            </a:fld>
            <a:endParaRPr lang="ru-RU" dirty="0"/>
          </a:p>
        </p:txBody>
      </p:sp>
      <p:sp>
        <p:nvSpPr>
          <p:cNvPr id="257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57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57029" name="navigation8" descr="ujkm,"/>
          <p:cNvPicPr>
            <a:picLocks noChangeAspect="1" noChangeArrowheads="1"/>
          </p:cNvPicPr>
          <p:nvPr/>
        </p:nvPicPr>
        <p:blipFill>
          <a:blip r:embed="rId15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  <p:sldLayoutId id="2147483794" r:id="rId12"/>
    <p:sldLayoutId id="2147483795" r:id="rId13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5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  <p:sldLayoutId id="2147483808" r:id="rId12"/>
    <p:sldLayoutId id="2147483809" r:id="rId13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rgbClr val="003274"/>
                </a:solidFill>
                <a:cs typeface="+mn-cs"/>
              </a:defRPr>
            </a:lvl1pPr>
          </a:lstStyle>
          <a:p>
            <a:pPr>
              <a:defRPr/>
            </a:pPr>
            <a:fld id="{7FBFBA33-169F-44A9-A5DF-A0C25D734F8D}" type="slidenum">
              <a:rPr lang="ru-RU">
                <a:latin typeface="Arial" panose="020B0604020202020204"/>
              </a:rPr>
            </a:fld>
            <a:endParaRPr lang="ru-RU" dirty="0">
              <a:latin typeface="Arial" panose="020B0604020202020204"/>
            </a:endParaRPr>
          </a:p>
        </p:txBody>
      </p:sp>
      <p:sp>
        <p:nvSpPr>
          <p:cNvPr id="20377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0378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03781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 fontAlgn="auto">
              <a:spcBef>
                <a:spcPts val="0"/>
              </a:spcBef>
              <a:spcAft>
                <a:spcPts val="0"/>
              </a:spcAft>
              <a:defRPr sz="2200" b="1">
                <a:solidFill>
                  <a:schemeClr val="hlin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45F48F7-F5BB-47E4-824F-28845CE8C8E2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  <p:sldLayoutId id="2147483834" r:id="rId1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7" y="6448479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fld id="{39C25FF4-21E9-41B0-81DE-DEE261383BF1}" type="slidenum">
              <a:rPr lang="ru-RU" smtClean="0"/>
            </a:fld>
            <a:endParaRPr lang="ru-RU" dirty="0"/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14341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4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7" y="6448499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fld id="{39C25FF4-21E9-41B0-81DE-DEE261383BF1}" type="slidenum">
              <a:rPr lang="ru-RU" smtClean="0"/>
            </a:fld>
            <a:endParaRPr lang="ru-RU" dirty="0"/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14341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4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  <p:sldLayoutId id="2147483858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6" name="think-cell Slide" r:id="rId4" imgW="12700" imgH="12700" progId="">
                  <p:embed/>
                </p:oleObj>
              </mc:Choice>
              <mc:Fallback>
                <p:oleObj name="think-cell Slide" r:id="rId4" imgW="12700" imgH="1270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80990" y="1980009"/>
            <a:ext cx="2183476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12653" y="4197989"/>
            <a:ext cx="1920150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8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3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56996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/>
            <a:r>
              <a:rPr lang="ru-RU" sz="1400" dirty="0">
                <a:solidFill>
                  <a:srgbClr val="808080"/>
                </a:solidFill>
                <a:latin typeface="Arial" panose="020B0604020202020204"/>
              </a:rPr>
              <a:t>TRACKER</a:t>
            </a:r>
            <a:endParaRPr lang="ru-RU" sz="1400" dirty="0">
              <a:solidFill>
                <a:srgbClr val="808080"/>
              </a:solidFill>
              <a:latin typeface="Arial" panose="020B0604020202020204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1" y="946660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93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  <a:endParaRPr lang="ru-RU" sz="1600" dirty="0">
              <a:solidFill>
                <a:srgbClr val="808080"/>
              </a:solidFill>
            </a:endParaRP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89" y="6265770"/>
            <a:ext cx="872284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1793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40525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 panose="020B0604020202020204"/>
              </a:rPr>
              <a:t>1 Сноска</a:t>
            </a:r>
            <a:endParaRPr lang="ru-RU" sz="100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8" y="6578595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665" indent="-621665" defTabSz="913130">
              <a:tabLst>
                <a:tab pos="624840" algn="l"/>
              </a:tabLst>
            </a:pPr>
            <a:r>
              <a:rPr lang="ru-RU" sz="1000" dirty="0">
                <a:solidFill>
                  <a:srgbClr val="000000"/>
                </a:solidFill>
                <a:latin typeface="Arial" panose="020B0604020202020204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 panose="020B0604020202020204"/>
            </a:endParaRPr>
          </a:p>
        </p:txBody>
      </p:sp>
      <p:grpSp>
        <p:nvGrpSpPr>
          <p:cNvPr id="15" name="ACET" hidden="1"/>
          <p:cNvGrpSpPr/>
          <p:nvPr/>
        </p:nvGrpSpPr>
        <p:grpSpPr bwMode="auto">
          <a:xfrm>
            <a:off x="1482158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/>
              <a:r>
                <a:rPr lang="ru-RU" sz="1600" b="1" dirty="0">
                  <a:solidFill>
                    <a:srgbClr val="000000"/>
                  </a:solidFill>
                  <a:latin typeface="Arial" panose="020B0604020202020204"/>
                </a:rPr>
                <a:t>Title</a:t>
              </a:r>
              <a:endParaRPr lang="ru-RU" sz="1600" b="1" dirty="0">
                <a:solidFill>
                  <a:srgbClr val="000000"/>
                </a:solidFill>
                <a:latin typeface="Arial" panose="020B0604020202020204"/>
              </a:endParaRPr>
            </a:p>
            <a:p>
              <a:pPr defTabSz="914400"/>
              <a:r>
                <a:rPr lang="ru-RU" sz="1600" dirty="0">
                  <a:solidFill>
                    <a:srgbClr val="808080"/>
                  </a:solidFill>
                  <a:latin typeface="Arial" panose="020B0604020202020204"/>
                </a:rPr>
                <a:t>Unit of measure</a:t>
              </a:r>
              <a:endParaRPr lang="ru-RU" sz="1600" dirty="0">
                <a:solidFill>
                  <a:srgbClr val="808080"/>
                </a:solidFill>
                <a:latin typeface="Arial" panose="020B0604020202020204"/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66" tIns="93266" rIns="93266" bIns="93266" anchor="ctr"/>
          <a:lstStyle/>
          <a:p>
            <a:pPr defTabSz="914400">
              <a:defRPr/>
            </a:pPr>
            <a:endParaRPr lang="ru-RU" dirty="0">
              <a:solidFill>
                <a:srgbClr val="000000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2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66" tIns="93266" rIns="93266" bIns="93266" anchor="ctr"/>
          <a:lstStyle/>
          <a:p>
            <a:pPr defTabSz="914400">
              <a:defRPr/>
            </a:pPr>
            <a:endParaRPr lang="ru-RU" dirty="0">
              <a:solidFill>
                <a:srgbClr val="000000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8178323" y="42452"/>
            <a:ext cx="905490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29182" y="119001"/>
            <a:ext cx="1022737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</p:sldLayoutIdLst>
  <p:hf hdr="0" ftr="0" dt="0"/>
  <p:txStyles>
    <p:titleStyle>
      <a:lvl1pPr algn="l" defTabSz="913130" rtl="0" eaLnBrk="1" fontAlgn="base" hangingPunct="1">
        <a:spcBef>
          <a:spcPct val="0"/>
        </a:spcBef>
        <a:spcAft>
          <a:spcPct val="0"/>
        </a:spcAft>
        <a:tabLst>
          <a:tab pos="363855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2pPr>
      <a:lvl3pPr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3pPr>
      <a:lvl4pPr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4pPr>
      <a:lvl5pPr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5pPr>
      <a:lvl6pPr marL="466090"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6pPr>
      <a:lvl7pPr marL="932815"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7pPr>
      <a:lvl8pPr marL="1398905"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8pPr>
      <a:lvl9pPr marL="1865630"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0" indent="0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485" indent="-1962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66090" indent="-26733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26745" indent="-158750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64540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5pPr>
      <a:lvl6pPr marL="764540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6pPr>
      <a:lvl7pPr marL="764540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7pPr>
      <a:lvl8pPr marL="764540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8pPr>
      <a:lvl9pPr marL="764540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090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15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905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630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720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810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35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625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  <p:sldLayoutId id="2147483868" r:id="rId6"/>
    <p:sldLayoutId id="2147483869" r:id="rId7"/>
    <p:sldLayoutId id="2147483870" r:id="rId8"/>
    <p:sldLayoutId id="2147483871" r:id="rId9"/>
    <p:sldLayoutId id="2147483872" r:id="rId10"/>
    <p:sldLayoutId id="2147483873" r:id="rId11"/>
    <p:sldLayoutId id="2147483874" r:id="rId12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Arial" panose="020B0604020202020204" pitchFamily="34" charset="0"/>
              </a:defRPr>
            </a:lvl1pPr>
          </a:lstStyle>
          <a:p>
            <a:fld id="{A663EA52-884A-401B-9C0B-BA7D6E6232EC}" type="slidenum">
              <a:rPr lang="ru-RU"/>
            </a:fld>
            <a:endParaRPr lang="ru-RU" dirty="0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9221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F77C34-2D5A-4A96-B2FC-A5E7A210239A}" type="slidenum">
              <a:rPr lang="ru-RU" smtClean="0"/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  <p:sldLayoutId id="2147483882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888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Arial" panose="020B0604020202020204" pitchFamily="34" charset="0"/>
              </a:defRPr>
            </a:lvl1pPr>
          </a:lstStyle>
          <a:p>
            <a:fld id="{98AFEC57-EB06-4D59-A7D0-215126966E20}" type="slidenum">
              <a:rPr lang="ru-RU"/>
            </a:fld>
            <a:endParaRPr lang="ru-RU" dirty="0"/>
          </a:p>
        </p:txBody>
      </p:sp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76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7653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1" name="Группа 10"/>
          <p:cNvGrpSpPr/>
          <p:nvPr/>
        </p:nvGrpSpPr>
        <p:grpSpPr>
          <a:xfrm>
            <a:off x="214282" y="6510359"/>
            <a:ext cx="1414473" cy="190478"/>
            <a:chOff x="458788" y="6467497"/>
            <a:chExt cx="1414473" cy="190478"/>
          </a:xfrm>
        </p:grpSpPr>
        <p:sp>
          <p:nvSpPr>
            <p:cNvPr id="12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458788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20204" pitchFamily="34" charset="0"/>
                </a:rPr>
                <a:t>1</a:t>
              </a:r>
              <a:endParaRPr lang="ru-RU" sz="1200" b="1" dirty="0">
                <a:cs typeface="Arial" panose="020B0604020202020204" pitchFamily="34" charset="0"/>
              </a:endParaRPr>
            </a:p>
          </p:txBody>
        </p:sp>
        <p:sp>
          <p:nvSpPr>
            <p:cNvPr id="13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674688" y="6469063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ru-RU" sz="1200" b="1" dirty="0">
                  <a:solidFill>
                    <a:schemeClr val="tx1"/>
                  </a:solidFill>
                  <a:cs typeface="Arial" panose="020B0604020202020204" pitchFamily="34" charset="0"/>
                </a:rPr>
                <a:t>2</a:t>
              </a:r>
              <a:endParaRPr lang="ru-RU" sz="12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4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1693874" y="6467497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en-US" sz="1200" b="1" dirty="0">
                  <a:cs typeface="Arial" panose="020B0604020202020204" pitchFamily="34" charset="0"/>
                </a:rPr>
                <a:t>6</a:t>
              </a:r>
              <a:endParaRPr lang="ru-RU" sz="1200" b="1" dirty="0">
                <a:cs typeface="Arial" panose="020B0604020202020204" pitchFamily="34" charset="0"/>
              </a:endParaRPr>
            </a:p>
          </p:txBody>
        </p:sp>
        <p:sp>
          <p:nvSpPr>
            <p:cNvPr id="15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6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7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8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  <a:endParaRPr lang="ru-RU" sz="1200" b="1" dirty="0"/>
            </a:p>
          </p:txBody>
        </p:sp>
        <p:sp>
          <p:nvSpPr>
            <p:cNvPr id="19" name="Rectangle 13"/>
            <p:cNvSpPr>
              <a:spLocks noChangeArrowheads="1"/>
            </p:cNvSpPr>
            <p:nvPr userDrawn="1"/>
          </p:nvSpPr>
          <p:spPr bwMode="auto">
            <a:xfrm>
              <a:off x="935041" y="6473826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3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1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2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20224EE2-69FB-42C8-8E3C-9785D9F190B6}" type="slidenum">
              <a:rPr lang="ru-RU"/>
            </a:fld>
            <a:endParaRPr lang="ru-RU" dirty="0"/>
          </a:p>
        </p:txBody>
      </p:sp>
      <p:sp>
        <p:nvSpPr>
          <p:cNvPr id="31749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pic>
        <p:nvPicPr>
          <p:cNvPr id="31754" name="navigation6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1" name="Группа 10"/>
          <p:cNvGrpSpPr/>
          <p:nvPr/>
        </p:nvGrpSpPr>
        <p:grpSpPr>
          <a:xfrm>
            <a:off x="330154" y="6496071"/>
            <a:ext cx="1474814" cy="190478"/>
            <a:chOff x="396857" y="6467497"/>
            <a:chExt cx="1474814" cy="190478"/>
          </a:xfrm>
        </p:grpSpPr>
        <p:sp>
          <p:nvSpPr>
            <p:cNvPr id="12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1692284" y="6467497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en-US" sz="1200" b="1" dirty="0">
                  <a:cs typeface="Arial" panose="020B0604020202020204" pitchFamily="34" charset="0"/>
                </a:rPr>
                <a:t>6</a:t>
              </a:r>
              <a:endParaRPr lang="ru-RU" sz="1200" b="1" dirty="0">
                <a:cs typeface="Arial" panose="020B0604020202020204" pitchFamily="34" charset="0"/>
              </a:endParaRPr>
            </a:p>
          </p:txBody>
        </p:sp>
        <p:sp>
          <p:nvSpPr>
            <p:cNvPr id="13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674688" y="6469063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ru-RU" sz="1200" b="1" dirty="0">
                  <a:solidFill>
                    <a:schemeClr val="tx1"/>
                  </a:solidFill>
                  <a:cs typeface="Arial" panose="020B0604020202020204" pitchFamily="34" charset="0"/>
                </a:rPr>
                <a:t>2</a:t>
              </a:r>
              <a:endParaRPr lang="ru-RU" sz="12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4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20204" pitchFamily="34" charset="0"/>
                </a:rPr>
                <a:t>3</a:t>
              </a:r>
              <a:endParaRPr lang="ru-RU" sz="1200" b="1" dirty="0">
                <a:cs typeface="Arial" panose="020B0604020202020204" pitchFamily="34" charset="0"/>
              </a:endParaRPr>
            </a:p>
          </p:txBody>
        </p:sp>
        <p:sp>
          <p:nvSpPr>
            <p:cNvPr id="15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6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7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8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  <a:endParaRPr lang="ru-RU" sz="1200" b="1" dirty="0"/>
            </a:p>
          </p:txBody>
        </p:sp>
        <p:sp>
          <p:nvSpPr>
            <p:cNvPr id="19" name="Rectangle 13"/>
            <p:cNvSpPr>
              <a:spLocks noChangeArrowheads="1"/>
            </p:cNvSpPr>
            <p:nvPr userDrawn="1"/>
          </p:nvSpPr>
          <p:spPr bwMode="auto">
            <a:xfrm>
              <a:off x="396857" y="6478588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1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1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2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Arial" panose="020B0604020202020204" pitchFamily="34" charset="0"/>
              </a:defRPr>
            </a:lvl1pPr>
          </a:lstStyle>
          <a:p>
            <a:fld id="{8AD15098-A811-4E07-946B-55DA15EE1276}" type="slidenum">
              <a:rPr lang="ru-RU"/>
            </a:fld>
            <a:endParaRPr lang="ru-RU" dirty="0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33797" name="navigation8" descr="ujkm,"/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1" name="Группа 10"/>
          <p:cNvGrpSpPr/>
          <p:nvPr/>
        </p:nvGrpSpPr>
        <p:grpSpPr>
          <a:xfrm>
            <a:off x="253742" y="6510359"/>
            <a:ext cx="1492487" cy="190478"/>
            <a:chOff x="393472" y="6467497"/>
            <a:chExt cx="1492487" cy="190478"/>
          </a:xfrm>
        </p:grpSpPr>
        <p:sp>
          <p:nvSpPr>
            <p:cNvPr id="12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393472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20204" pitchFamily="34" charset="0"/>
                </a:rPr>
                <a:t>1</a:t>
              </a:r>
              <a:endParaRPr lang="ru-RU" sz="1200" b="1" dirty="0">
                <a:cs typeface="Arial" panose="020B0604020202020204" pitchFamily="34" charset="0"/>
              </a:endParaRPr>
            </a:p>
          </p:txBody>
        </p:sp>
        <p:sp>
          <p:nvSpPr>
            <p:cNvPr id="13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1706572" y="6477022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en-US" sz="1200" b="1" dirty="0">
                  <a:solidFill>
                    <a:schemeClr val="tx1"/>
                  </a:solidFill>
                  <a:cs typeface="Arial" panose="020B0604020202020204" pitchFamily="34" charset="0"/>
                </a:rPr>
                <a:t>6</a:t>
              </a:r>
              <a:endParaRPr lang="ru-RU" sz="12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4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20204" pitchFamily="34" charset="0"/>
                </a:rPr>
                <a:t>3</a:t>
              </a:r>
              <a:endParaRPr lang="ru-RU" sz="1200" b="1" dirty="0">
                <a:cs typeface="Arial" panose="020B0604020202020204" pitchFamily="34" charset="0"/>
              </a:endParaRPr>
            </a:p>
          </p:txBody>
        </p:sp>
        <p:sp>
          <p:nvSpPr>
            <p:cNvPr id="15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6" name="navigation6"/>
            <p:cNvSpPr>
              <a:spLocks noChangeShapeType="1"/>
            </p:cNvSpPr>
            <p:nvPr/>
          </p:nvSpPr>
          <p:spPr bwMode="auto">
            <a:xfrm>
              <a:off x="906236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7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8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  <a:endParaRPr lang="ru-RU" sz="1200" b="1" dirty="0"/>
            </a:p>
          </p:txBody>
        </p:sp>
        <p:sp>
          <p:nvSpPr>
            <p:cNvPr id="19" name="Rectangle 13"/>
            <p:cNvSpPr>
              <a:spLocks noChangeArrowheads="1"/>
            </p:cNvSpPr>
            <p:nvPr userDrawn="1"/>
          </p:nvSpPr>
          <p:spPr bwMode="auto">
            <a:xfrm>
              <a:off x="677865" y="6472258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2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1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2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Arial" panose="020B0604020202020204" pitchFamily="34" charset="0"/>
              </a:defRPr>
            </a:lvl1pPr>
          </a:lstStyle>
          <a:p>
            <a:fld id="{8AD15098-A811-4E07-946B-55DA15EE1276}" type="slidenum">
              <a:rPr lang="ru-RU"/>
            </a:fld>
            <a:endParaRPr lang="ru-RU" dirty="0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33797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3" name="Группа 12"/>
          <p:cNvGrpSpPr/>
          <p:nvPr/>
        </p:nvGrpSpPr>
        <p:grpSpPr>
          <a:xfrm>
            <a:off x="219044" y="6505595"/>
            <a:ext cx="1479559" cy="193676"/>
            <a:chOff x="382586" y="6467496"/>
            <a:chExt cx="1479559" cy="193676"/>
          </a:xfrm>
        </p:grpSpPr>
        <p:sp>
          <p:nvSpPr>
            <p:cNvPr id="14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382586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20204" pitchFamily="34" charset="0"/>
                </a:rPr>
                <a:t>1</a:t>
              </a:r>
              <a:endParaRPr lang="ru-RU" sz="1200" b="1" dirty="0">
                <a:cs typeface="Arial" panose="020B0604020202020204" pitchFamily="34" charset="0"/>
              </a:endParaRPr>
            </a:p>
          </p:txBody>
        </p:sp>
        <p:sp>
          <p:nvSpPr>
            <p:cNvPr id="15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673101" y="6481785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en-US" sz="1200" b="1" dirty="0">
                  <a:solidFill>
                    <a:schemeClr val="tx1"/>
                  </a:solidFill>
                  <a:cs typeface="Arial" panose="020B0604020202020204" pitchFamily="34" charset="0"/>
                </a:rPr>
                <a:t>2</a:t>
              </a:r>
              <a:endParaRPr lang="ru-RU" sz="12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6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20204" pitchFamily="34" charset="0"/>
                </a:rPr>
                <a:t>3</a:t>
              </a:r>
              <a:endParaRPr lang="ru-RU" sz="1200" b="1" dirty="0">
                <a:cs typeface="Arial" panose="020B0604020202020204" pitchFamily="34" charset="0"/>
              </a:endParaRPr>
            </a:p>
          </p:txBody>
        </p:sp>
        <p:sp>
          <p:nvSpPr>
            <p:cNvPr id="17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8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9" name="navigation7"/>
            <p:cNvSpPr>
              <a:spLocks noChangeShapeType="1"/>
            </p:cNvSpPr>
            <p:nvPr userDrawn="1"/>
          </p:nvSpPr>
          <p:spPr bwMode="auto">
            <a:xfrm>
              <a:off x="1127556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0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682758" y="6481785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6</a:t>
              </a:r>
              <a:endParaRPr lang="ru-RU" sz="1200" b="1" dirty="0"/>
            </a:p>
          </p:txBody>
        </p:sp>
        <p:sp>
          <p:nvSpPr>
            <p:cNvPr id="21" name="Rectangle 13"/>
            <p:cNvSpPr>
              <a:spLocks noChangeArrowheads="1"/>
            </p:cNvSpPr>
            <p:nvPr userDrawn="1"/>
          </p:nvSpPr>
          <p:spPr bwMode="auto">
            <a:xfrm>
              <a:off x="1173167" y="6467496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4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3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4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Arial" panose="020B0604020202020204" pitchFamily="34" charset="0"/>
              </a:defRPr>
            </a:lvl1pPr>
          </a:lstStyle>
          <a:p>
            <a:fld id="{8AD15098-A811-4E07-946B-55DA15EE1276}" type="slidenum">
              <a:rPr lang="ru-RU"/>
            </a:fld>
            <a:endParaRPr lang="ru-RU" dirty="0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33797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6" name="Группа 15"/>
          <p:cNvGrpSpPr/>
          <p:nvPr/>
        </p:nvGrpSpPr>
        <p:grpSpPr>
          <a:xfrm>
            <a:off x="220404" y="6510357"/>
            <a:ext cx="1473437" cy="190480"/>
            <a:chOff x="393472" y="6467495"/>
            <a:chExt cx="1473437" cy="190480"/>
          </a:xfrm>
        </p:grpSpPr>
        <p:sp>
          <p:nvSpPr>
            <p:cNvPr id="17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393472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20204" pitchFamily="34" charset="0"/>
                </a:rPr>
                <a:t>1</a:t>
              </a:r>
              <a:endParaRPr lang="ru-RU" sz="1200" b="1" dirty="0">
                <a:cs typeface="Arial" panose="020B0604020202020204" pitchFamily="34" charset="0"/>
              </a:endParaRPr>
            </a:p>
          </p:txBody>
        </p:sp>
        <p:sp>
          <p:nvSpPr>
            <p:cNvPr id="18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1687522" y="6467497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en-US" sz="1200" b="1" dirty="0">
                  <a:solidFill>
                    <a:schemeClr val="tx1"/>
                  </a:solidFill>
                  <a:cs typeface="Arial" panose="020B0604020202020204" pitchFamily="34" charset="0"/>
                </a:rPr>
                <a:t>6</a:t>
              </a:r>
              <a:endParaRPr lang="ru-RU" sz="12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20204" pitchFamily="34" charset="0"/>
                </a:rPr>
                <a:t>3</a:t>
              </a:r>
              <a:endParaRPr lang="ru-RU" sz="1200" b="1" dirty="0">
                <a:cs typeface="Arial" panose="020B0604020202020204" pitchFamily="34" charset="0"/>
              </a:endParaRPr>
            </a:p>
          </p:txBody>
        </p:sp>
        <p:sp>
          <p:nvSpPr>
            <p:cNvPr id="20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1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2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  <a:endParaRPr lang="ru-RU" sz="1200" b="1" dirty="0"/>
            </a:p>
          </p:txBody>
        </p:sp>
        <p:sp>
          <p:nvSpPr>
            <p:cNvPr id="24" name="Rectangle 13"/>
            <p:cNvSpPr>
              <a:spLocks noChangeArrowheads="1"/>
            </p:cNvSpPr>
            <p:nvPr userDrawn="1"/>
          </p:nvSpPr>
          <p:spPr bwMode="auto">
            <a:xfrm>
              <a:off x="1425582" y="6467497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5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6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7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73102" y="6467495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2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Arial" panose="020B0604020202020204" pitchFamily="34" charset="0"/>
              </a:defRPr>
            </a:lvl1pPr>
          </a:lstStyle>
          <a:p>
            <a:fld id="{8AD15098-A811-4E07-946B-55DA15EE1276}" type="slidenum">
              <a:rPr lang="ru-RU"/>
            </a:fld>
            <a:endParaRPr lang="ru-RU" dirty="0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33797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8" name="Группа 17"/>
          <p:cNvGrpSpPr/>
          <p:nvPr/>
        </p:nvGrpSpPr>
        <p:grpSpPr>
          <a:xfrm>
            <a:off x="260122" y="6496072"/>
            <a:ext cx="1506747" cy="190478"/>
            <a:chOff x="393472" y="6467497"/>
            <a:chExt cx="1506747" cy="190478"/>
          </a:xfrm>
        </p:grpSpPr>
        <p:sp>
          <p:nvSpPr>
            <p:cNvPr id="33798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393472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20204" pitchFamily="34" charset="0"/>
                </a:rPr>
                <a:t>1</a:t>
              </a:r>
              <a:endParaRPr lang="ru-RU" sz="1200" b="1" dirty="0">
                <a:cs typeface="Arial" panose="020B0604020202020204" pitchFamily="34" charset="0"/>
              </a:endParaRPr>
            </a:p>
          </p:txBody>
        </p:sp>
        <p:sp>
          <p:nvSpPr>
            <p:cNvPr id="33799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674688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ru-RU" sz="1200" b="1" dirty="0">
                  <a:solidFill>
                    <a:schemeClr val="tx1"/>
                  </a:solidFill>
                  <a:cs typeface="Arial" panose="020B0604020202020204" pitchFamily="34" charset="0"/>
                </a:rPr>
                <a:t>2</a:t>
              </a:r>
              <a:endParaRPr lang="ru-RU" sz="12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3800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20204" pitchFamily="34" charset="0"/>
                </a:rPr>
                <a:t>3</a:t>
              </a:r>
              <a:endParaRPr lang="ru-RU" sz="1200" b="1" dirty="0">
                <a:cs typeface="Arial" panose="020B0604020202020204" pitchFamily="34" charset="0"/>
              </a:endParaRPr>
            </a:p>
          </p:txBody>
        </p:sp>
        <p:sp>
          <p:nvSpPr>
            <p:cNvPr id="33801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33802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2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  <a:endParaRPr lang="ru-RU" sz="1200" b="1" dirty="0"/>
            </a:p>
          </p:txBody>
        </p:sp>
        <p:sp>
          <p:nvSpPr>
            <p:cNvPr id="14" name="Rectangle 13"/>
            <p:cNvSpPr>
              <a:spLocks noChangeArrowheads="1"/>
            </p:cNvSpPr>
            <p:nvPr userDrawn="1"/>
          </p:nvSpPr>
          <p:spPr bwMode="auto">
            <a:xfrm>
              <a:off x="1720832" y="6469063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6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6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7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09.xml"/><Relationship Id="rId3" Type="http://schemas.openxmlformats.org/officeDocument/2006/relationships/image" Target="../media/image33.png"/><Relationship Id="rId2" Type="http://schemas.openxmlformats.org/officeDocument/2006/relationships/image" Target="../media/image32.jpeg"/><Relationship Id="rId1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15.xml"/><Relationship Id="rId1" Type="http://schemas.openxmlformats.org/officeDocument/2006/relationships/image" Target="../media/image33.png"/></Relationships>
</file>

<file path=ppt/slides/_rels/slide3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2.xml"/><Relationship Id="rId6" Type="http://schemas.openxmlformats.org/officeDocument/2006/relationships/vmlDrawing" Target="../drawings/vmlDrawing3.vml"/><Relationship Id="rId5" Type="http://schemas.openxmlformats.org/officeDocument/2006/relationships/slideLayout" Target="../slideLayouts/slideLayout215.xml"/><Relationship Id="rId4" Type="http://schemas.openxmlformats.org/officeDocument/2006/relationships/image" Target="../media/image33.png"/><Relationship Id="rId3" Type="http://schemas.openxmlformats.org/officeDocument/2006/relationships/image" Target="../media/image34.jpeg"/><Relationship Id="rId2" Type="http://schemas.openxmlformats.org/officeDocument/2006/relationships/oleObject" Target="../embeddings/oleObject3.bin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.xml"/><Relationship Id="rId3" Type="http://schemas.openxmlformats.org/officeDocument/2006/relationships/slideLayout" Target="../slideLayouts/slideLayout215.xml"/><Relationship Id="rId2" Type="http://schemas.openxmlformats.org/officeDocument/2006/relationships/image" Target="../media/image33.png"/><Relationship Id="rId1" Type="http://schemas.openxmlformats.org/officeDocument/2006/relationships/image" Target="../media/image34.jpeg"/></Relationships>
</file>

<file path=ppt/slides/_rels/slide5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4.xml"/><Relationship Id="rId3" Type="http://schemas.openxmlformats.org/officeDocument/2006/relationships/slideLayout" Target="../slideLayouts/slideLayout221.xml"/><Relationship Id="rId2" Type="http://schemas.openxmlformats.org/officeDocument/2006/relationships/image" Target="../media/image33.png"/><Relationship Id="rId1" Type="http://schemas.openxmlformats.org/officeDocument/2006/relationships/image" Target="../media/image3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1.xml"/><Relationship Id="rId2" Type="http://schemas.openxmlformats.org/officeDocument/2006/relationships/image" Target="../media/image36.png"/><Relationship Id="rId1" Type="http://schemas.openxmlformats.org/officeDocument/2006/relationships/image" Target="../media/image3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5.xml"/><Relationship Id="rId2" Type="http://schemas.openxmlformats.org/officeDocument/2006/relationships/image" Target="../media/image33.png"/><Relationship Id="rId1" Type="http://schemas.openxmlformats.org/officeDocument/2006/relationships/image" Target="../media/image34.jpeg"/></Relationships>
</file>

<file path=ppt/slides/_rels/slide8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15.xml"/><Relationship Id="rId3" Type="http://schemas.openxmlformats.org/officeDocument/2006/relationships/image" Target="../media/image37.jpeg"/><Relationship Id="rId2" Type="http://schemas.openxmlformats.org/officeDocument/2006/relationships/image" Target="../media/image33.png"/><Relationship Id="rId1" Type="http://schemas.openxmlformats.org/officeDocument/2006/relationships/image" Target="../media/image34.jpeg"/></Relationships>
</file>

<file path=ppt/slides/_rels/slide9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15.xml"/><Relationship Id="rId3" Type="http://schemas.openxmlformats.org/officeDocument/2006/relationships/image" Target="../media/image38.png"/><Relationship Id="rId2" Type="http://schemas.openxmlformats.org/officeDocument/2006/relationships/image" Target="../media/image33.png"/><Relationship Id="rId1" Type="http://schemas.openxmlformats.org/officeDocument/2006/relationships/image" Target="../media/image3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b--sw3tSuYwFh9d4syvsTVb" hidden="1"/>
          <p:cNvSpPr>
            <a:spLocks noChangeArrowheads="1"/>
          </p:cNvSpPr>
          <p:nvPr/>
        </p:nvSpPr>
        <p:spPr bwMode="auto">
          <a:xfrm>
            <a:off x="63500" y="6731002"/>
            <a:ext cx="63500" cy="63500"/>
          </a:xfrm>
          <a:prstGeom prst="ellipse">
            <a:avLst/>
          </a:prstGeom>
          <a:solidFill>
            <a:srgbClr val="FF0000"/>
          </a:solidFill>
          <a:ln w="19050">
            <a:solidFill>
              <a:srgbClr val="0000FF"/>
            </a:solidFill>
            <a:rou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642910" y="2357430"/>
            <a:ext cx="7929618" cy="15036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30000"/>
              </a:lnSpc>
            </a:pPr>
            <a:r>
              <a:rPr lang="ru-RU" sz="3600" b="1" dirty="0">
                <a:solidFill>
                  <a:schemeClr val="accent1">
                    <a:lumMod val="75000"/>
                  </a:schemeClr>
                </a:solidFill>
              </a:rPr>
              <a:t>Эффективный регион</a:t>
            </a:r>
            <a:endParaRPr lang="ru-RU" sz="3600" b="1" dirty="0">
              <a:solidFill>
                <a:schemeClr val="accent1">
                  <a:lumMod val="75000"/>
                </a:schemeClr>
              </a:solidFill>
            </a:endParaRPr>
          </a:p>
          <a:p>
            <a:pPr algn="ctr" eaLnBrk="1" hangingPunct="1">
              <a:lnSpc>
                <a:spcPct val="130000"/>
              </a:lnSpc>
            </a:pPr>
            <a:r>
              <a:rPr lang="ru-RU" sz="2400" b="1" dirty="0">
                <a:solidFill>
                  <a:schemeClr val="accent1">
                    <a:lumMod val="75000"/>
                  </a:schemeClr>
                </a:solidFill>
              </a:rPr>
              <a:t>ОБУЗ «Курская городская </a:t>
            </a: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</a:rPr>
              <a:t>поликлиника №3»</a:t>
            </a:r>
            <a:endParaRPr lang="ru-RU" sz="24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211960" y="6286520"/>
            <a:ext cx="9980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 </a:t>
            </a:r>
            <a:r>
              <a:rPr lang="ru-R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</a:t>
            </a:r>
            <a:endParaRPr lang="ru-RU" sz="16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9333" y="430027"/>
            <a:ext cx="1676771" cy="1944216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4869958"/>
            <a:ext cx="1004194" cy="1271748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2956" y="4725144"/>
            <a:ext cx="2073131" cy="1561376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  <p:sp>
        <p:nvSpPr>
          <p:cNvPr id="4" name="Текст 2"/>
          <p:cNvSpPr txBox="1"/>
          <p:nvPr/>
        </p:nvSpPr>
        <p:spPr>
          <a:xfrm>
            <a:off x="467544" y="2852936"/>
            <a:ext cx="7772400" cy="150018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3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 </a:t>
            </a:r>
            <a:endParaRPr lang="ru-RU" sz="2400" b="1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lnSpc>
                <a:spcPct val="130000"/>
              </a:lnSpc>
              <a:spcBef>
                <a:spcPct val="0"/>
              </a:spcBef>
              <a:buNone/>
            </a:pPr>
            <a:r>
              <a:rPr lang="ru-RU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Подготовка планировочных решений с учётом исключения пересечения потоков»</a:t>
            </a:r>
            <a:endParaRPr lang="ru-RU" altLang="ru-RU" sz="2400" b="1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985254" y="404663"/>
            <a:ext cx="3098914" cy="206594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40945" y="0"/>
            <a:ext cx="1043608" cy="880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270467" y="1196752"/>
            <a:ext cx="4145575" cy="2178343"/>
          </a:xfrm>
          <a:prstGeom prst="rect">
            <a:avLst/>
          </a:prstGeom>
          <a:solidFill>
            <a:schemeClr val="bg1"/>
          </a:solidFill>
          <a:ln w="19050">
            <a:solidFill>
              <a:srgbClr val="2E658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300" dirty="0">
              <a:solidFill>
                <a:srgbClr val="003274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10247" y="3490232"/>
            <a:ext cx="4140202" cy="2819088"/>
          </a:xfrm>
          <a:prstGeom prst="rect">
            <a:avLst/>
          </a:prstGeom>
          <a:solidFill>
            <a:schemeClr val="bg1"/>
          </a:solidFill>
          <a:ln w="19050">
            <a:solidFill>
              <a:srgbClr val="2E658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003274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544903" y="1217692"/>
            <a:ext cx="4293160" cy="2178343"/>
          </a:xfrm>
          <a:prstGeom prst="rect">
            <a:avLst/>
          </a:prstGeom>
          <a:solidFill>
            <a:schemeClr val="bg1"/>
          </a:solidFill>
          <a:ln w="19050">
            <a:solidFill>
              <a:srgbClr val="2E658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tIns="0" rtlCol="0" anchor="t" anchorCtr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lvl="0" indent="-228600">
              <a:buFont typeface="+mj-lt"/>
              <a:buAutoNum type="arabicPeriod"/>
            </a:pPr>
            <a:endParaRPr lang="ru-RU" sz="9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нужные перемещения пациентов и персонала поликлиники внутри отделения (в одном кабинете установлено 2 диагностических аппарата: </a:t>
            </a:r>
            <a:r>
              <a:rPr lang="ru-RU" sz="10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ммограф</a:t>
            </a:r>
            <a:r>
              <a: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рентгеновская установка).</a:t>
            </a:r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трая нехватка площадей в здании поликлиники, и нерациональное использование площадей поликлиники.</a:t>
            </a:r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ая степень удовлетворенности пациентов от сроков и качества предоставляемых </a:t>
            </a:r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уг</a:t>
            </a:r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4527525" y="3484035"/>
            <a:ext cx="4293160" cy="2817030"/>
          </a:xfrm>
          <a:prstGeom prst="rect">
            <a:avLst/>
          </a:prstGeom>
          <a:solidFill>
            <a:schemeClr val="bg1"/>
          </a:solidFill>
          <a:ln w="19050">
            <a:solidFill>
              <a:srgbClr val="2E658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003274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26" name="Rectangle 25" hidden="1"/>
          <p:cNvGraphicFramePr/>
          <p:nvPr>
            <p:custDataLst>
              <p:tags r:id="rId1"/>
            </p:custDataLst>
          </p:nvPr>
        </p:nvGraphicFramePr>
        <p:xfrm>
          <a:off x="-1464" y="0"/>
          <a:ext cx="15093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2" name="think-cell Slide" r:id="rId2" imgW="0" imgH="0" progId="">
                  <p:embed/>
                </p:oleObj>
              </mc:Choice>
              <mc:Fallback>
                <p:oleObj name="think-cell Slide" r:id="rId2" imgW="0" imgH="0" progId="">
                  <p:embed/>
                  <p:pic>
                    <p:nvPicPr>
                      <p:cNvPr id="0" name="Изображение 8241"/>
                      <p:cNvPicPr>
                        <a:picLocks noChangeArrowheads="1"/>
                      </p:cNvPicPr>
                      <p:nvPr/>
                    </p:nvPicPr>
                    <p:blipFill>
                      <a:blip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464" y="0"/>
                        <a:ext cx="15093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4586595" y="3662172"/>
            <a:ext cx="42338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800" b="1" u="sng">
                <a:solidFill>
                  <a:srgbClr val="3E87BD">
                    <a:lumMod val="75000"/>
                  </a:srgb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u="none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ru-RU" sz="1000" u="none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ые события (КС)</a:t>
            </a:r>
            <a:r>
              <a:rPr lang="ru-RU" sz="1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07308" y="3662173"/>
            <a:ext cx="41087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1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u="sng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и и плановый эффект</a:t>
            </a:r>
            <a:endParaRPr lang="ru-RU" sz="1000" u="sng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544903" y="1304189"/>
            <a:ext cx="428081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300" b="1" u="sng">
                <a:solidFill>
                  <a:srgbClr val="003274">
                    <a:lumMod val="75000"/>
                  </a:srgbClr>
                </a:solidFill>
              </a:defRPr>
            </a:lvl1pPr>
          </a:lstStyle>
          <a:p>
            <a:r>
              <a:rPr lang="en-US" sz="1000" u="none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000" u="none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основание выбора</a:t>
            </a:r>
            <a:endParaRPr lang="ru-RU" sz="1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70467" y="1343570"/>
            <a:ext cx="42116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300" b="1" u="sng">
                <a:solidFill>
                  <a:srgbClr val="003274">
                    <a:lumMod val="75000"/>
                  </a:srgbClr>
                </a:solidFill>
              </a:defRPr>
            </a:lvl1pPr>
          </a:lstStyle>
          <a:p>
            <a:r>
              <a:rPr lang="ru-RU" sz="1000" u="none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ru-RU" sz="1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влеченные лица и рамки проекта</a:t>
            </a:r>
            <a:endParaRPr lang="ru-RU" sz="1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327072" y="1589791"/>
          <a:ext cx="4088970" cy="18897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088970"/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000" b="1" u="sng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 (Основной текст)"/>
                        </a:rPr>
                        <a:t>Заказчик</a:t>
                      </a:r>
                      <a:r>
                        <a:rPr lang="ru-RU" sz="1000" b="1" u="sng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 (Основной текст)"/>
                        </a:rPr>
                        <a:t> </a:t>
                      </a:r>
                      <a:r>
                        <a:rPr lang="ru-RU" sz="1000" b="1" u="sng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проекта:</a:t>
                      </a:r>
                      <a:r>
                        <a:rPr lang="ru-RU" sz="1000" b="0" u="none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b="0" u="none" kern="1200" baseline="0" dirty="0" smtClean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персонал поликлиники, Комитет здравоохранения Курской области</a:t>
                      </a:r>
                      <a:endParaRPr lang="ru-RU" sz="1000" b="0" u="none" kern="1200" baseline="0" dirty="0">
                        <a:solidFill>
                          <a:schemeClr val="tx1"/>
                        </a:solidFill>
                        <a:latin typeface="Arial (Основной текст)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ru-RU" sz="1000" b="1" u="sng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Периметр проекта</a:t>
                      </a:r>
                      <a:r>
                        <a:rPr lang="ru-RU" sz="1000" b="1" u="sng" kern="1200" baseline="0" dirty="0">
                          <a:solidFill>
                            <a:srgbClr val="002060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: </a:t>
                      </a:r>
                      <a:r>
                        <a:rPr lang="ru-RU" sz="1000" b="0" u="none" kern="1200" baseline="0" dirty="0" smtClean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ОБУЗ «Курская городская поликлиника №3»</a:t>
                      </a:r>
                      <a:endParaRPr lang="ru-RU" sz="1000" b="0" u="none" kern="1200" baseline="0" dirty="0">
                        <a:solidFill>
                          <a:schemeClr val="tx1"/>
                        </a:solidFill>
                        <a:latin typeface="Arial (Основной текст)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ru-RU" sz="1000" b="1" u="sng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Руководитель проекта:</a:t>
                      </a:r>
                      <a:r>
                        <a:rPr lang="ru-RU" sz="1000" b="1" u="none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 (Основной текст)"/>
                        </a:rPr>
                        <a:t> </a:t>
                      </a:r>
                      <a:r>
                        <a:rPr lang="ru-RU" sz="1000" b="0" u="none" kern="1200" baseline="0" dirty="0" smtClean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зав. рентгенодиагностическим отделением Н. И. Минакова. </a:t>
                      </a:r>
                      <a:endParaRPr lang="ru-RU" sz="1000" b="0" u="none" kern="1200" baseline="0" dirty="0">
                        <a:solidFill>
                          <a:schemeClr val="tx1"/>
                        </a:solidFill>
                        <a:latin typeface="Arial (Основной текст)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ru-RU" sz="1000" b="1" u="sng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Команда проекта: </a:t>
                      </a:r>
                      <a:r>
                        <a:rPr lang="ru-RU" sz="1000" b="1" u="none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  </a:t>
                      </a:r>
                      <a:r>
                        <a:rPr lang="ru-RU" sz="1000" b="0" u="none" kern="1200" baseline="0" dirty="0" smtClean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заведующий поликлиники Т.В. </a:t>
                      </a:r>
                      <a:r>
                        <a:rPr lang="ru-RU" sz="1000" b="0" u="none" kern="1200" baseline="0" dirty="0" err="1" smtClean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Линькова</a:t>
                      </a:r>
                      <a:r>
                        <a:rPr lang="ru-RU" sz="1000" b="0" u="none" kern="1200" baseline="0" dirty="0" smtClean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, старшая мед. сестра А.А. Чурилова, начальник АСУП В.И. Дудник, начальник отдела МТС Кушнир А.Я., </a:t>
                      </a:r>
                      <a:r>
                        <a:rPr lang="ru-RU" sz="1000" b="0" u="none" kern="1200" baseline="0" dirty="0" err="1" smtClean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заведуюшая</a:t>
                      </a:r>
                      <a:r>
                        <a:rPr lang="ru-RU" sz="1000" b="0" u="none" kern="1200" baseline="0" dirty="0" smtClean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b="0" u="none" kern="1200" baseline="0" dirty="0" err="1" smtClean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ренгенодиагностики</a:t>
                      </a:r>
                      <a:r>
                        <a:rPr lang="ru-RU" sz="1000" b="0" u="none" kern="1200" baseline="0" dirty="0" smtClean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b="0" u="none" kern="1200" baseline="0" dirty="0" err="1" smtClean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Н.И.Минакова</a:t>
                      </a:r>
                      <a:r>
                        <a:rPr lang="ru-RU" sz="1000" b="0" u="none" kern="1200" baseline="0" dirty="0" smtClean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.</a:t>
                      </a:r>
                      <a:endParaRPr lang="ru-RU" sz="1000" b="0" u="none" kern="1200" baseline="0" dirty="0" smtClean="0">
                        <a:solidFill>
                          <a:schemeClr val="tx1"/>
                        </a:solidFill>
                        <a:latin typeface="Arial (Основной текст)"/>
                        <a:ea typeface="+mn-ea"/>
                        <a:cs typeface="+mn-cs"/>
                      </a:endParaRPr>
                    </a:p>
                    <a:p>
                      <a:r>
                        <a:rPr lang="ru-RU" sz="1000" b="0" u="none" kern="1200" baseline="0" dirty="0" smtClean="0">
                          <a:solidFill>
                            <a:schemeClr val="tx1"/>
                          </a:solidFill>
                          <a:latin typeface="Arial (Основной текст)"/>
                          <a:ea typeface="+mn-ea"/>
                          <a:cs typeface="+mn-cs"/>
                        </a:rPr>
                        <a:t>.</a:t>
                      </a:r>
                      <a:endParaRPr lang="ru-RU" sz="1000" b="0" u="none" kern="1200" baseline="0" dirty="0">
                        <a:solidFill>
                          <a:schemeClr val="tx1"/>
                        </a:solidFill>
                        <a:latin typeface="Arial (Основной текст)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6" name="TextBox 14"/>
          <p:cNvSpPr txBox="1">
            <a:spLocks noChangeArrowheads="1"/>
          </p:cNvSpPr>
          <p:nvPr/>
        </p:nvSpPr>
        <p:spPr bwMode="auto">
          <a:xfrm>
            <a:off x="4642596" y="4090632"/>
            <a:ext cx="4178089" cy="153888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marL="228600" indent="-228600" eaLnBrk="0" hangingPunct="0">
              <a:spcBef>
                <a:spcPct val="40000"/>
              </a:spcBef>
              <a:spcAft>
                <a:spcPct val="20000"/>
              </a:spcAft>
              <a:buFont typeface="+mj-lt"/>
              <a:buAutoNum type="arabicPeriod"/>
              <a:tabLst>
                <a:tab pos="3952875" algn="r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тарт проекта	15.07.2021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 eaLnBrk="0" hangingPunct="0">
              <a:spcBef>
                <a:spcPct val="40000"/>
              </a:spcBef>
              <a:spcAft>
                <a:spcPct val="20000"/>
              </a:spcAft>
              <a:buFont typeface="+mj-lt"/>
              <a:buAutoNum type="arabicPeriod"/>
              <a:tabLst>
                <a:tab pos="3952875" algn="r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Диагностика и целевое состояние 	16.08.2021</a:t>
            </a:r>
            <a:b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.1. разработка текущей карты процесса 	17.08.2021</a:t>
            </a:r>
            <a:b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2.2 разработка целевой карты процесса 	17.08.2021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 eaLnBrk="0" hangingPunct="0">
              <a:spcBef>
                <a:spcPct val="40000"/>
              </a:spcBef>
              <a:spcAft>
                <a:spcPct val="20000"/>
              </a:spcAft>
              <a:buFont typeface="+mj-lt"/>
              <a:buAutoNum type="arabicPeriod"/>
              <a:tabLst>
                <a:tab pos="3952875" algn="r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Разработка плана мероприятий (дорожной карты) 	30.08.2021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 eaLnBrk="0" hangingPunct="0">
              <a:spcBef>
                <a:spcPct val="40000"/>
              </a:spcBef>
              <a:spcAft>
                <a:spcPct val="20000"/>
              </a:spcAft>
              <a:buFont typeface="+mj-lt"/>
              <a:buAutoNum type="arabicPeriod"/>
              <a:tabLst>
                <a:tab pos="3952875" algn="r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недрение	15.09.2021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 eaLnBrk="0" hangingPunct="0">
              <a:spcBef>
                <a:spcPct val="40000"/>
              </a:spcBef>
              <a:spcAft>
                <a:spcPct val="20000"/>
              </a:spcAft>
              <a:buFont typeface="+mj-lt"/>
              <a:buAutoNum type="arabicPeriod"/>
              <a:tabLst>
                <a:tab pos="3952875" algn="r"/>
              </a:tabLst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Закрепление результатов и закрытие проекта 	20.11.2021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5" name="Таблица 24"/>
          <p:cNvGraphicFramePr>
            <a:graphicFrameLocks noGrp="1"/>
          </p:cNvGraphicFramePr>
          <p:nvPr/>
        </p:nvGraphicFramePr>
        <p:xfrm>
          <a:off x="395537" y="4033421"/>
          <a:ext cx="3984763" cy="2130858"/>
        </p:xfrm>
        <a:graphic>
          <a:graphicData uri="http://schemas.openxmlformats.org/drawingml/2006/table">
            <a:tbl>
              <a:tblPr firstRow="1" bandRow="1"/>
              <a:tblGrid>
                <a:gridCol w="2232025"/>
                <a:gridCol w="864318"/>
                <a:gridCol w="888420"/>
              </a:tblGrid>
              <a:tr h="40481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u="non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Наименование цели</a:t>
                      </a:r>
                      <a:endParaRPr lang="ru-RU" sz="900" b="1" u="non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3345" marR="93345" marT="46355" marB="46355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u="non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Текущий показатель</a:t>
                      </a:r>
                      <a:endParaRPr lang="ru-RU" sz="900" b="1" u="non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3345" marR="93345" marT="46355" marB="46355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u="non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Целевой показатель</a:t>
                      </a:r>
                      <a:endParaRPr lang="ru-RU" sz="900" b="1" u="non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3345" marR="93345" marT="46355" marB="46355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9895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9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Количество пересекающихся потоков пациентов при прохождении исследований, ед. </a:t>
                      </a:r>
                      <a:endParaRPr lang="ru-RU" sz="9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3345" marR="93345" marT="46355" marB="46355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000" kern="1200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000" kern="1200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9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Увеличение пропускной способности диагностического оборудования в рабочую смену</a:t>
                      </a:r>
                      <a:endParaRPr lang="ru-RU" sz="9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3345" marR="93345" marT="46355" marB="46355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3 чел.</a:t>
                      </a:r>
                      <a:endParaRPr lang="ru-RU" sz="1000" kern="1200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0 чел.</a:t>
                      </a:r>
                      <a:endParaRPr lang="ru-RU" sz="1000" kern="1200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9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Увеличение полезной площади в здании поликлиники, организация зон комфортного ожидания</a:t>
                      </a:r>
                      <a:endParaRPr lang="ru-RU" sz="9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3345" marR="93345" marT="46355" marB="46355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000" kern="120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761 м2</a:t>
                      </a:r>
                      <a:endParaRPr lang="ru-RU" sz="1000" kern="1200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ru-RU" sz="1000" kern="1200" baseline="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820 м2</a:t>
                      </a:r>
                      <a:endParaRPr lang="ru-RU" sz="1000" kern="1200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9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Увеличение пропускной способности отделения профилактики в рабочую смену</a:t>
                      </a:r>
                      <a:endParaRPr lang="ru-RU" sz="9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3345" marR="93345" marT="46355" marB="46355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5 чел.</a:t>
                      </a:r>
                      <a:endParaRPr lang="ru-RU" sz="1000" kern="1200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0 чел.</a:t>
                      </a:r>
                      <a:endParaRPr lang="ru-RU" sz="1000" kern="1200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7" name="Rectangle 3"/>
          <p:cNvSpPr txBox="1">
            <a:spLocks noChangeArrowheads="1"/>
          </p:cNvSpPr>
          <p:nvPr/>
        </p:nvSpPr>
        <p:spPr>
          <a:xfrm>
            <a:off x="1163638" y="131763"/>
            <a:ext cx="6816725" cy="6397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30000"/>
              </a:lnSpc>
            </a:pP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Подготовка планировочных решений с учётом исключения пересечения потоков»</a:t>
            </a:r>
            <a:endParaRPr lang="en-US" sz="16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467" y="167345"/>
            <a:ext cx="720000" cy="720000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81748" y="116636"/>
            <a:ext cx="1462252" cy="974835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552521" y="1295886"/>
            <a:ext cx="6745463" cy="58477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endParaRPr lang="ru-RU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4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3"/>
          <p:cNvSpPr txBox="1">
            <a:spLocks noChangeArrowheads="1"/>
          </p:cNvSpPr>
          <p:nvPr/>
        </p:nvSpPr>
        <p:spPr>
          <a:xfrm>
            <a:off x="1163638" y="131763"/>
            <a:ext cx="6816725" cy="6397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30000"/>
              </a:lnSpc>
            </a:pP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Подготовка планировочных решений с учётом исключения пересечения потоков»</a:t>
            </a:r>
            <a:endParaRPr lang="en-US" sz="16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467" y="167345"/>
            <a:ext cx="720000" cy="720000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81748" y="116636"/>
            <a:ext cx="1462252" cy="974835"/>
          </a:xfrm>
          <a:prstGeom prst="rect">
            <a:avLst/>
          </a:prstGeom>
        </p:spPr>
      </p:pic>
      <p:cxnSp>
        <p:nvCxnSpPr>
          <p:cNvPr id="26" name="Прямая соединительная линия 25"/>
          <p:cNvCxnSpPr/>
          <p:nvPr/>
        </p:nvCxnSpPr>
        <p:spPr>
          <a:xfrm>
            <a:off x="272715" y="1048941"/>
            <a:ext cx="432048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2812320" y="1228553"/>
            <a:ext cx="35193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исание проблем процесса</a:t>
            </a:r>
            <a:endParaRPr lang="ru-RU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  <p:sp>
        <p:nvSpPr>
          <p:cNvPr id="11" name="Взрыв: 14 точек 17"/>
          <p:cNvSpPr/>
          <p:nvPr/>
        </p:nvSpPr>
        <p:spPr>
          <a:xfrm>
            <a:off x="7454314" y="1484783"/>
            <a:ext cx="1656184" cy="1017591"/>
          </a:xfrm>
          <a:prstGeom prst="irregularSeal2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200" b="1" kern="2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90053" y="1905506"/>
            <a:ext cx="7763895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52095"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ичие неиспользуемого здания на территории  ОБУЗ КГБ№3; </a:t>
            </a:r>
            <a:endParaRPr lang="ru-RU" sz="16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52095"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ходимость в обращении пациентов в рентгенодиагностическое отделение с профилактической целью;</a:t>
            </a:r>
            <a:endParaRPr lang="ru-RU" sz="16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52095"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нужные перемещения пациентов и персонала поликлиники внутри отделения (в одном кабинете установлено 2 диагностических аппарата: </a:t>
            </a:r>
            <a:r>
              <a:rPr lang="ru-RU" sz="16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ммограф</a:t>
            </a:r>
            <a:r>
              <a:rPr lang="ru-R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рентгеновская установка).</a:t>
            </a:r>
            <a:endParaRPr lang="ru-RU" sz="16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52095"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ходимость разработки маршрутизации пациентов в здании взрослой поликлиники;</a:t>
            </a:r>
            <a:endParaRPr lang="ru-RU" sz="16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52095"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трая нехватка и нерациональное использование площадей в здании взрослой поликлиники;</a:t>
            </a:r>
            <a:endParaRPr lang="ru-RU" sz="16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52095"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ая степень удовлетворенности пациентов от сроков и качества предоставляемых услуг</a:t>
            </a:r>
            <a:endParaRPr lang="ru-RU" sz="16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8" name="Прямая соединительная линия 47"/>
          <p:cNvCxnSpPr/>
          <p:nvPr/>
        </p:nvCxnSpPr>
        <p:spPr>
          <a:xfrm>
            <a:off x="285720" y="848771"/>
            <a:ext cx="432048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1936334" y="1192466"/>
            <a:ext cx="53285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оприятия для реализации проекта</a:t>
            </a:r>
            <a:endParaRPr lang="ru-RU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67" y="83684"/>
            <a:ext cx="692696" cy="692696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679594" y="125207"/>
            <a:ext cx="74176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Подготовка планировочных решений с учётом исключения пересечения потоков»</a:t>
            </a:r>
            <a:endParaRPr lang="ru-RU" sz="16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Таблица 6"/>
          <p:cNvGraphicFramePr>
            <a:graphicFrameLocks noGrp="1"/>
          </p:cNvGraphicFramePr>
          <p:nvPr/>
        </p:nvGraphicFramePr>
        <p:xfrm>
          <a:off x="285720" y="1772816"/>
          <a:ext cx="8629820" cy="29665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50576"/>
                <a:gridCol w="1679244"/>
              </a:tblGrid>
              <a:tr h="30983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Мероприят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Статус выполнения</a:t>
                      </a:r>
                      <a:endParaRPr lang="ru-RU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012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kern="1200" dirty="0" smtClean="0">
                          <a:solidFill>
                            <a:srgbClr val="2E658E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вести работу по перераспределению месторасположения кабинетов и отделений с использованием методик бережливого производства </a:t>
                      </a:r>
                      <a:endParaRPr lang="ru-RU" sz="1200" kern="1200" dirty="0">
                        <a:solidFill>
                          <a:srgbClr val="2E658E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kern="1200" dirty="0" smtClean="0">
                          <a:solidFill>
                            <a:srgbClr val="2E658E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ализовано</a:t>
                      </a:r>
                      <a:endParaRPr lang="ru-RU" sz="1200" kern="1200" dirty="0">
                        <a:solidFill>
                          <a:srgbClr val="2E658E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5012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kern="1200" dirty="0" smtClean="0">
                          <a:solidFill>
                            <a:srgbClr val="2E658E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дготовить проектно-сметную документацию</a:t>
                      </a:r>
                      <a:endParaRPr lang="ru-RU" sz="1200" kern="1200" dirty="0">
                        <a:solidFill>
                          <a:srgbClr val="2E658E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kern="1200" dirty="0" smtClean="0">
                          <a:solidFill>
                            <a:srgbClr val="2E658E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ализовано</a:t>
                      </a:r>
                      <a:endParaRPr lang="ru-RU" sz="1200" kern="1200" dirty="0">
                        <a:solidFill>
                          <a:srgbClr val="2E658E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5012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kern="1200" dirty="0" smtClean="0">
                          <a:solidFill>
                            <a:srgbClr val="2E658E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аключить контракт на выполнение работ по капитальному ремонту взрослой поликлиники в рамках реализации мероприятий регионального  проекта «Модернизация первичного звена здравоохранения в Курской области»</a:t>
                      </a:r>
                      <a:endParaRPr lang="ru-RU" sz="1200" kern="1200" dirty="0">
                        <a:solidFill>
                          <a:srgbClr val="2E658E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kern="1200" dirty="0" smtClean="0">
                          <a:solidFill>
                            <a:srgbClr val="2E658E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ализовано</a:t>
                      </a:r>
                      <a:endParaRPr lang="ru-RU" sz="1200" kern="1200" dirty="0">
                        <a:solidFill>
                          <a:srgbClr val="2E658E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5012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kern="1200" dirty="0" smtClean="0">
                          <a:solidFill>
                            <a:srgbClr val="2E658E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недрить планировочные решения капитального ремонта</a:t>
                      </a:r>
                      <a:endParaRPr lang="ru-RU" sz="1200" kern="1200" dirty="0">
                        <a:solidFill>
                          <a:srgbClr val="2E658E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kern="1200" dirty="0" smtClean="0">
                          <a:solidFill>
                            <a:srgbClr val="2E658E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в стадии реализации</a:t>
                      </a:r>
                      <a:endParaRPr lang="ru-RU" sz="1200" kern="1200" dirty="0">
                        <a:solidFill>
                          <a:srgbClr val="2E658E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5128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kern="1200" dirty="0" smtClean="0">
                          <a:solidFill>
                            <a:srgbClr val="2E658E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Реализовать навигационные решения, соответственно логистики разведения потоков пациентов</a:t>
                      </a:r>
                      <a:endParaRPr lang="ru-RU" sz="1200" kern="1200" dirty="0">
                        <a:solidFill>
                          <a:srgbClr val="2E658E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kern="1200" dirty="0" smtClean="0">
                          <a:solidFill>
                            <a:srgbClr val="2E658E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в стадии реализации</a:t>
                      </a:r>
                      <a:endParaRPr lang="ru-RU" sz="1200" kern="1200" dirty="0">
                        <a:solidFill>
                          <a:srgbClr val="2E658E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8" name="Рисунок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84573" y="199768"/>
            <a:ext cx="1927523" cy="1285016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/>
        </p:nvCxnSpPr>
        <p:spPr>
          <a:xfrm>
            <a:off x="285720" y="848771"/>
            <a:ext cx="428628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421338" y="0"/>
            <a:ext cx="1926503" cy="1280271"/>
          </a:xfrm>
          <a:prstGeom prst="rect">
            <a:avLst/>
          </a:prstGeom>
        </p:spPr>
      </p:pic>
      <p:graphicFrame>
        <p:nvGraphicFramePr>
          <p:cNvPr id="4" name="Таблица 6"/>
          <p:cNvGraphicFramePr>
            <a:graphicFrameLocks noGrp="1"/>
          </p:cNvGraphicFramePr>
          <p:nvPr/>
        </p:nvGraphicFramePr>
        <p:xfrm>
          <a:off x="179512" y="1561799"/>
          <a:ext cx="8736028" cy="36805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36117"/>
                <a:gridCol w="1699911"/>
              </a:tblGrid>
              <a:tr h="2916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Мероприят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Статус выполнения</a:t>
                      </a:r>
                      <a:endParaRPr lang="ru-RU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47181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kern="1200" dirty="0" smtClean="0">
                          <a:solidFill>
                            <a:srgbClr val="2E658E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пределить входящие потоки, места пересечения потоков </a:t>
                      </a:r>
                      <a:endParaRPr lang="ru-RU" sz="1200" kern="1200" dirty="0">
                        <a:solidFill>
                          <a:srgbClr val="2E658E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kern="1200" dirty="0" smtClean="0">
                          <a:solidFill>
                            <a:srgbClr val="2E658E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ализовано</a:t>
                      </a:r>
                      <a:endParaRPr lang="ru-RU" sz="1200" kern="1200" dirty="0">
                        <a:solidFill>
                          <a:srgbClr val="2E658E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48887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kern="1200" dirty="0" smtClean="0">
                          <a:solidFill>
                            <a:srgbClr val="2E658E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корректировать время ожидания в очереди перед исследованием </a:t>
                      </a:r>
                      <a:endParaRPr lang="ru-RU" sz="1200" kern="1200" dirty="0">
                        <a:solidFill>
                          <a:srgbClr val="2E658E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kern="1200" dirty="0" smtClean="0">
                          <a:solidFill>
                            <a:srgbClr val="2E658E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 стадии реализации</a:t>
                      </a:r>
                      <a:endParaRPr lang="ru-RU" sz="1200" kern="1200" dirty="0">
                        <a:solidFill>
                          <a:srgbClr val="2E658E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48887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kern="1200" dirty="0" smtClean="0">
                          <a:solidFill>
                            <a:srgbClr val="2E658E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проектировать расположение кабинетов специалистов, с учетом зон комфортного ожидания, условного зонирования по отделениям. </a:t>
                      </a:r>
                      <a:endParaRPr lang="ru-RU" sz="1200" kern="1200" dirty="0">
                        <a:solidFill>
                          <a:srgbClr val="2E658E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kern="1200" dirty="0" smtClean="0">
                          <a:solidFill>
                            <a:srgbClr val="2E658E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ализовано</a:t>
                      </a:r>
                      <a:endParaRPr lang="ru-RU" sz="1200" kern="1200" dirty="0">
                        <a:solidFill>
                          <a:srgbClr val="2E658E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47181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kern="1200" dirty="0" smtClean="0">
                          <a:solidFill>
                            <a:srgbClr val="2E658E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планировать новую экспликацию и номера кабинетов </a:t>
                      </a:r>
                      <a:endParaRPr lang="ru-RU" sz="1200" kern="1200" dirty="0">
                        <a:solidFill>
                          <a:srgbClr val="2E658E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kern="1200" dirty="0" smtClean="0">
                          <a:solidFill>
                            <a:srgbClr val="2E658E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реализовано</a:t>
                      </a:r>
                      <a:endParaRPr lang="ru-RU" sz="1200" kern="1200" dirty="0">
                        <a:solidFill>
                          <a:srgbClr val="2E658E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48887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kern="1200" dirty="0" smtClean="0">
                          <a:solidFill>
                            <a:srgbClr val="2E658E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Спланировать маршрутную карту пациентов при прохождении профилактических осмотров </a:t>
                      </a:r>
                      <a:endParaRPr lang="ru-RU" sz="1200" kern="1200" dirty="0">
                        <a:solidFill>
                          <a:srgbClr val="2E658E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kern="1200" dirty="0" smtClean="0">
                          <a:solidFill>
                            <a:srgbClr val="2E658E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реализовано</a:t>
                      </a:r>
                      <a:endParaRPr lang="ru-RU" sz="1200" kern="1200" dirty="0">
                        <a:solidFill>
                          <a:srgbClr val="2E658E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48275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kern="1200" dirty="0" smtClean="0">
                          <a:solidFill>
                            <a:srgbClr val="2E658E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планировать навигационную систему поликлиники </a:t>
                      </a:r>
                      <a:endParaRPr lang="ru-RU" sz="1200" kern="1200" dirty="0">
                        <a:solidFill>
                          <a:srgbClr val="2E658E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kern="1200" noProof="0" dirty="0" smtClean="0">
                          <a:solidFill>
                            <a:srgbClr val="2E658E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ализовано</a:t>
                      </a:r>
                      <a:endParaRPr lang="ru-RU" sz="1200" kern="1200" noProof="0" dirty="0">
                        <a:solidFill>
                          <a:srgbClr val="2E658E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48275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kern="1200" dirty="0" smtClean="0">
                          <a:solidFill>
                            <a:srgbClr val="2E658E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ратиться в проектную организацию </a:t>
                      </a:r>
                      <a:endParaRPr lang="ru-RU" sz="1200" kern="1200" dirty="0">
                        <a:solidFill>
                          <a:srgbClr val="2E658E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kern="1200" noProof="0" dirty="0" smtClean="0">
                          <a:solidFill>
                            <a:srgbClr val="2E658E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ализовано</a:t>
                      </a:r>
                      <a:endParaRPr lang="ru-RU" sz="1200" kern="1200" noProof="0" dirty="0">
                        <a:solidFill>
                          <a:srgbClr val="2E658E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720" y="116632"/>
            <a:ext cx="695004" cy="688908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 rot="10800000" flipV="1">
            <a:off x="1259632" y="138499"/>
            <a:ext cx="60486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Подготовка планировочных решений с учётом исключения пересечения потоков»</a:t>
            </a:r>
            <a:endParaRPr lang="ru-RU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936334" y="1192466"/>
            <a:ext cx="53285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оприятия для реализации проекта</a:t>
            </a:r>
            <a:endParaRPr lang="ru-RU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07504" y="980728"/>
            <a:ext cx="6984776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272715" y="2060848"/>
          <a:ext cx="8651164" cy="27950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84139"/>
                <a:gridCol w="1400359"/>
                <a:gridCol w="1330341"/>
                <a:gridCol w="1236325"/>
              </a:tblGrid>
              <a:tr h="43076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ь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1" kern="120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сходное</a:t>
                      </a:r>
                      <a:endParaRPr lang="ru-RU" sz="1200" b="1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1" kern="120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остояние</a:t>
                      </a:r>
                      <a:endParaRPr lang="ru-RU" sz="1200" b="1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ru-RU" sz="1200" b="1" kern="120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кущее состояние</a:t>
                      </a:r>
                      <a:endParaRPr lang="ru-RU" sz="1200" b="1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ru-RU" sz="1200" b="1" kern="120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зультат</a:t>
                      </a:r>
                      <a:endParaRPr lang="ru-RU" sz="1200" b="1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6051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личество пересекающихся потоков пациентов при прохождении исследований, ед. </a:t>
                      </a:r>
                      <a:endParaRPr lang="ru-RU" sz="1200" kern="12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200" kern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2000" b="1" kern="1200" dirty="0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ru-RU" sz="2000" b="1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2000" b="1" kern="1200" dirty="0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2000" b="1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2000" b="1" kern="120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-1</a:t>
                      </a:r>
                      <a:endParaRPr lang="ru-RU" sz="2000" b="1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величение полезной площади в здании поликлиники, организация зон комфортного ожидания, м2</a:t>
                      </a:r>
                      <a:endParaRPr lang="ru-RU" sz="1200" kern="12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ru-RU" sz="1200" kern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2000" b="1" kern="1200" dirty="0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3761</a:t>
                      </a:r>
                      <a:endParaRPr lang="ru-RU" sz="2000" b="1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2000" b="1" kern="1200" dirty="0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3820</a:t>
                      </a:r>
                      <a:endParaRPr lang="ru-RU" sz="2000" b="1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2000" b="1" kern="120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59</a:t>
                      </a:r>
                      <a:endParaRPr lang="ru-RU" sz="2000" b="1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4756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азработка навигационной системы поликлиники</a:t>
                      </a:r>
                      <a:endParaRPr lang="ru-RU" sz="1200" kern="12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ru-RU" sz="1200" kern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2000" b="1" kern="1200" dirty="0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ru-RU" sz="2000" b="1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2000" b="1" kern="1200" dirty="0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endParaRPr lang="ru-RU" sz="2000" b="1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2000" b="1" kern="120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endParaRPr lang="ru-RU" sz="2000" b="1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2" name="Рисунок 11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467" y="167345"/>
            <a:ext cx="720000" cy="720000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81748" y="116636"/>
            <a:ext cx="1462252" cy="974835"/>
          </a:xfrm>
          <a:prstGeom prst="rect">
            <a:avLst/>
          </a:prstGeom>
        </p:spPr>
      </p:pic>
      <p:cxnSp>
        <p:nvCxnSpPr>
          <p:cNvPr id="14" name="Прямая соединительная линия 13"/>
          <p:cNvCxnSpPr/>
          <p:nvPr/>
        </p:nvCxnSpPr>
        <p:spPr>
          <a:xfrm>
            <a:off x="272715" y="1048941"/>
            <a:ext cx="432048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3665245" y="1228553"/>
            <a:ext cx="18135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тоги проекта</a:t>
            </a:r>
            <a:endParaRPr lang="ru-RU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379366" y="1628800"/>
            <a:ext cx="23852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chemeClr val="accent1">
                    <a:lumMod val="75000"/>
                  </a:schemeClr>
                </a:solidFill>
              </a:rPr>
              <a:t>Управленческий эффект</a:t>
            </a:r>
            <a:endParaRPr lang="ru-RU" sz="14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6" name="Rectangle 3"/>
          <p:cNvSpPr txBox="1">
            <a:spLocks noChangeArrowheads="1"/>
          </p:cNvSpPr>
          <p:nvPr/>
        </p:nvSpPr>
        <p:spPr>
          <a:xfrm>
            <a:off x="1163638" y="131763"/>
            <a:ext cx="6816725" cy="6397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30000"/>
              </a:lnSpc>
            </a:pP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Подготовка планировочных решений с учётом исключения пересечения потоков»</a:t>
            </a:r>
            <a:endParaRPr lang="en-US" sz="16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552521" y="1295886"/>
            <a:ext cx="6745463" cy="58477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endParaRPr lang="ru-RU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4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3"/>
          <p:cNvSpPr txBox="1">
            <a:spLocks noChangeArrowheads="1"/>
          </p:cNvSpPr>
          <p:nvPr/>
        </p:nvSpPr>
        <p:spPr>
          <a:xfrm>
            <a:off x="1163638" y="131763"/>
            <a:ext cx="6816725" cy="6397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30000"/>
              </a:lnSpc>
            </a:pP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Подготовка планировочных решений с учётом исключения пересечения потоков»</a:t>
            </a:r>
            <a:endParaRPr lang="en-US" sz="16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467" y="167345"/>
            <a:ext cx="720000" cy="720000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81748" y="116636"/>
            <a:ext cx="1462252" cy="974835"/>
          </a:xfrm>
          <a:prstGeom prst="rect">
            <a:avLst/>
          </a:prstGeom>
        </p:spPr>
      </p:pic>
      <p:cxnSp>
        <p:nvCxnSpPr>
          <p:cNvPr id="26" name="Прямая соединительная линия 25"/>
          <p:cNvCxnSpPr/>
          <p:nvPr/>
        </p:nvCxnSpPr>
        <p:spPr>
          <a:xfrm>
            <a:off x="272715" y="1048941"/>
            <a:ext cx="432048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3665245" y="1228553"/>
            <a:ext cx="18135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тоги проекта</a:t>
            </a:r>
            <a:endParaRPr lang="ru-RU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Объект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5827" y="1721637"/>
            <a:ext cx="6514735" cy="452596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552521" y="1295886"/>
            <a:ext cx="6745463" cy="58477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endParaRPr lang="ru-RU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4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3"/>
          <p:cNvSpPr txBox="1">
            <a:spLocks noChangeArrowheads="1"/>
          </p:cNvSpPr>
          <p:nvPr/>
        </p:nvSpPr>
        <p:spPr>
          <a:xfrm>
            <a:off x="1163638" y="131763"/>
            <a:ext cx="6816725" cy="6397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30000"/>
              </a:lnSpc>
            </a:pP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Подготовка планировочных решений с учётом исключения пересечения потоков»</a:t>
            </a:r>
            <a:endParaRPr lang="en-US" sz="16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467" y="167345"/>
            <a:ext cx="720000" cy="720000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81748" y="116636"/>
            <a:ext cx="1462252" cy="974835"/>
          </a:xfrm>
          <a:prstGeom prst="rect">
            <a:avLst/>
          </a:prstGeom>
        </p:spPr>
      </p:pic>
      <p:cxnSp>
        <p:nvCxnSpPr>
          <p:cNvPr id="26" name="Прямая соединительная линия 25"/>
          <p:cNvCxnSpPr/>
          <p:nvPr/>
        </p:nvCxnSpPr>
        <p:spPr>
          <a:xfrm>
            <a:off x="272715" y="1048941"/>
            <a:ext cx="432048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3665245" y="1228553"/>
            <a:ext cx="18135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тоги проекта</a:t>
            </a:r>
            <a:endParaRPr lang="ru-RU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Объект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8516" y="1600200"/>
            <a:ext cx="7346968" cy="452596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UNDODONOTDELETE" val="1"/>
</p:tagLst>
</file>

<file path=ppt/theme/theme1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b-section81">
  <a:themeElements>
    <a:clrScheme name="b-section81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8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8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2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10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1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17_b-default">
  <a:themeElements>
    <a:clrScheme name="b-default 4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4596D1"/>
      </a:accent1>
      <a:accent2>
        <a:srgbClr val="003274"/>
      </a:accent2>
      <a:accent3>
        <a:srgbClr val="FFFFFF"/>
      </a:accent3>
      <a:accent4>
        <a:srgbClr val="363637"/>
      </a:accent4>
      <a:accent5>
        <a:srgbClr val="B0C9E5"/>
      </a:accent5>
      <a:accent6>
        <a:srgbClr val="002C68"/>
      </a:accent6>
      <a:hlink>
        <a:srgbClr val="025EA1"/>
      </a:hlink>
      <a:folHlink>
        <a:srgbClr val="6CAEDF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16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2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-content">
  <a:themeElements>
    <a:clrScheme name="b-conten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cont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cont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1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b-section33">
  <a:themeElements>
    <a:clrScheme name="b-section33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3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b-section31">
  <a:themeElements>
    <a:clrScheme name="b-section31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3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b-section32">
  <a:themeElements>
    <a:clrScheme name="b-section32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3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b-section32">
  <a:themeElements>
    <a:clrScheme name="b-section32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3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b-section32">
  <a:themeElements>
    <a:clrScheme name="b-section32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3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b-section32">
  <a:themeElements>
    <a:clrScheme name="b-section32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3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444</Words>
  <Application>WPS Presentation</Application>
  <PresentationFormat>Экран (4:3)</PresentationFormat>
  <Paragraphs>215</Paragraphs>
  <Slides>9</Slides>
  <Notes>9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20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9</vt:i4>
      </vt:variant>
    </vt:vector>
  </HeadingPairs>
  <TitlesOfParts>
    <vt:vector size="37" baseType="lpstr">
      <vt:lpstr>Arial</vt:lpstr>
      <vt:lpstr>SimSun</vt:lpstr>
      <vt:lpstr>Wingdings</vt:lpstr>
      <vt:lpstr>Arial</vt:lpstr>
      <vt:lpstr>Calibri</vt:lpstr>
      <vt:lpstr>Arial (Основной текст)</vt:lpstr>
      <vt:lpstr>Microsoft YaHei</vt:lpstr>
      <vt:lpstr>Arial Unicode MS</vt:lpstr>
      <vt:lpstr>b-default</vt:lpstr>
      <vt:lpstr>b-content</vt:lpstr>
      <vt:lpstr>b-section33</vt:lpstr>
      <vt:lpstr>b-section31</vt:lpstr>
      <vt:lpstr>b-section32</vt:lpstr>
      <vt:lpstr>1_b-section32</vt:lpstr>
      <vt:lpstr>2_b-section32</vt:lpstr>
      <vt:lpstr>3_b-section32</vt:lpstr>
      <vt:lpstr>1_b-default</vt:lpstr>
      <vt:lpstr>3_b-default</vt:lpstr>
      <vt:lpstr>b-section81</vt:lpstr>
      <vt:lpstr>22_b-default</vt:lpstr>
      <vt:lpstr>4_b-default</vt:lpstr>
      <vt:lpstr>10_b-default</vt:lpstr>
      <vt:lpstr>14_b-default</vt:lpstr>
      <vt:lpstr>17_b-default</vt:lpstr>
      <vt:lpstr>16_b-default</vt:lpstr>
      <vt:lpstr>2_RDM027</vt:lpstr>
      <vt:lpstr>5_b-default</vt:lpstr>
      <vt:lpstr>1_Тема Offic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Rosato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Egor Nazarov</dc:creator>
  <cp:lastModifiedBy>Alex</cp:lastModifiedBy>
  <cp:revision>5311</cp:revision>
  <cp:lastPrinted>2022-04-06T10:13:00Z</cp:lastPrinted>
  <dcterms:created xsi:type="dcterms:W3CDTF">2011-08-02T09:39:00Z</dcterms:created>
  <dcterms:modified xsi:type="dcterms:W3CDTF">2022-07-25T15:29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2FDFC25A4EEC44B95186AE3BA6EE45</vt:lpwstr>
  </property>
  <property fmtid="{D5CDD505-2E9C-101B-9397-08002B2CF9AE}" pid="3" name="ICV">
    <vt:lpwstr>22775A5226024085A306EE0E1246E577</vt:lpwstr>
  </property>
  <property fmtid="{D5CDD505-2E9C-101B-9397-08002B2CF9AE}" pid="4" name="KSOProductBuildVer">
    <vt:lpwstr>1049-11.2.0.11191</vt:lpwstr>
  </property>
</Properties>
</file>